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84" r:id="rId4"/>
  </p:sldMasterIdLst>
  <p:notesMasterIdLst>
    <p:notesMasterId r:id="rId15"/>
  </p:notesMasterIdLst>
  <p:handoutMasterIdLst>
    <p:handoutMasterId r:id="rId16"/>
  </p:handoutMasterIdLst>
  <p:sldIdLst>
    <p:sldId id="256" r:id="rId5"/>
    <p:sldId id="257" r:id="rId6"/>
    <p:sldId id="3415" r:id="rId7"/>
    <p:sldId id="259" r:id="rId8"/>
    <p:sldId id="1693" r:id="rId9"/>
    <p:sldId id="2736" r:id="rId10"/>
    <p:sldId id="3417" r:id="rId11"/>
    <p:sldId id="572" r:id="rId12"/>
    <p:sldId id="2738" r:id="rId13"/>
    <p:sldId id="2739" r:id="rId14"/>
  </p:sldIdLst>
  <p:sldSz cx="12192000" cy="6858000"/>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53"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C121"/>
    <a:srgbClr val="000000"/>
    <a:srgbClr val="FDC304"/>
    <a:srgbClr val="82CBD4"/>
    <a:srgbClr val="EF7E05"/>
    <a:srgbClr val="1BACE4"/>
    <a:srgbClr val="E6E6E6"/>
    <a:srgbClr val="1D1E1C"/>
    <a:srgbClr val="E20C18"/>
    <a:srgbClr val="FAA8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59" autoAdjust="0"/>
    <p:restoredTop sz="96357" autoAdjust="0"/>
  </p:normalViewPr>
  <p:slideViewPr>
    <p:cSldViewPr snapToGrid="0">
      <p:cViewPr varScale="1">
        <p:scale>
          <a:sx n="63" d="100"/>
          <a:sy n="63" d="100"/>
        </p:scale>
        <p:origin x="764" y="64"/>
      </p:cViewPr>
      <p:guideLst>
        <p:guide orient="horz" pos="1253"/>
        <p:guide pos="3840"/>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83" d="100"/>
          <a:sy n="83" d="100"/>
        </p:scale>
        <p:origin x="2107"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BDCB-4223-9EE0-9DCDC0E4FC09}"/>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BDCB-4223-9EE0-9DCDC0E4FC09}"/>
              </c:ext>
            </c:extLst>
          </c:dPt>
          <c:cat>
            <c:strRef>
              <c:f>Sheet1!$A$2:$A$3</c:f>
              <c:strCache>
                <c:ptCount val="2"/>
                <c:pt idx="0">
                  <c:v>1st Qtr</c:v>
                </c:pt>
                <c:pt idx="1">
                  <c:v>2nd Qtr</c:v>
                </c:pt>
              </c:strCache>
            </c:strRef>
          </c:cat>
          <c:val>
            <c:numRef>
              <c:f>Sheet1!$B$2:$B$3</c:f>
              <c:numCache>
                <c:formatCode>0%</c:formatCode>
                <c:ptCount val="2"/>
                <c:pt idx="0">
                  <c:v>0.99</c:v>
                </c:pt>
                <c:pt idx="1">
                  <c:v>0.01</c:v>
                </c:pt>
              </c:numCache>
            </c:numRef>
          </c:val>
          <c:extLst>
            <c:ext xmlns:c16="http://schemas.microsoft.com/office/drawing/2014/chart" uri="{C3380CC4-5D6E-409C-BE32-E72D297353CC}">
              <c16:uniqueId val="{00000004-BDCB-4223-9EE0-9DCDC0E4FC09}"/>
            </c:ext>
          </c:extLst>
        </c:ser>
        <c:dLbls>
          <c:showLegendKey val="0"/>
          <c:showVal val="0"/>
          <c:showCatName val="0"/>
          <c:showSerName val="0"/>
          <c:showPercent val="0"/>
          <c:showBubbleSize val="0"/>
          <c:showLeaderLines val="1"/>
        </c:dLbls>
        <c:firstSliceAng val="27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768DAB-FE87-4CAB-AEAC-2A9EBE55511B}"/>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4A9FC4E2-F6F1-419C-9F44-302787CC4AC4}"/>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50D87A0D-4AE4-469D-8C0F-1E3E19CC0F04}" type="datetimeFigureOut">
              <a:rPr lang="en-GB" smtClean="0"/>
              <a:t>11/12/2023</a:t>
            </a:fld>
            <a:endParaRPr lang="en-GB" dirty="0"/>
          </a:p>
        </p:txBody>
      </p:sp>
      <p:sp>
        <p:nvSpPr>
          <p:cNvPr id="4" name="Footer Placeholder 3">
            <a:extLst>
              <a:ext uri="{FF2B5EF4-FFF2-40B4-BE49-F238E27FC236}">
                <a16:creationId xmlns:a16="http://schemas.microsoft.com/office/drawing/2014/main" id="{6134850C-42C4-41F0-AA1F-2F442460B52A}"/>
              </a:ext>
            </a:extLst>
          </p:cNvPr>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503B8400-D95F-432A-B8B1-FBF545FE0748}"/>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02F9E6EB-C898-47AB-9193-70CED8AB477C}" type="slidenum">
              <a:rPr lang="en-GB" smtClean="0"/>
              <a:t>‹#›</a:t>
            </a:fld>
            <a:endParaRPr lang="en-GB" dirty="0"/>
          </a:p>
        </p:txBody>
      </p:sp>
    </p:spTree>
    <p:extLst>
      <p:ext uri="{BB962C8B-B14F-4D97-AF65-F5344CB8AC3E}">
        <p14:creationId xmlns:p14="http://schemas.microsoft.com/office/powerpoint/2010/main" val="2120400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58E864C0-77EE-456B-9747-0A15F816AD6A}" type="datetimeFigureOut">
              <a:rPr lang="en-GB" smtClean="0"/>
              <a:t>11/12/2023</a:t>
            </a:fld>
            <a:endParaRPr lang="en-GB" dirty="0"/>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DCC1A71F-ED3E-4A54-969C-A8BBEECB2EB9}" type="slidenum">
              <a:rPr lang="en-GB" smtClean="0"/>
              <a:t>‹#›</a:t>
            </a:fld>
            <a:endParaRPr lang="en-GB" dirty="0"/>
          </a:p>
        </p:txBody>
      </p:sp>
    </p:spTree>
    <p:extLst>
      <p:ext uri="{BB962C8B-B14F-4D97-AF65-F5344CB8AC3E}">
        <p14:creationId xmlns:p14="http://schemas.microsoft.com/office/powerpoint/2010/main" val="3069845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876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57676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Confetti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a:extLst>
              <a:ext uri="{FF2B5EF4-FFF2-40B4-BE49-F238E27FC236}">
                <a16:creationId xmlns:a16="http://schemas.microsoft.com/office/drawing/2014/main" id="{C813651F-C7B8-4520-9C8D-0F96392DACE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0"/>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25185792-0492-4F2B-987A-01151770AB33}"/>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5" name="Subtitle 2">
            <a:extLst>
              <a:ext uri="{FF2B5EF4-FFF2-40B4-BE49-F238E27FC236}">
                <a16:creationId xmlns:a16="http://schemas.microsoft.com/office/drawing/2014/main" id="{FF35248C-EEC5-4433-AFE5-F92FD4F3AD9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6" name="Text Placeholder 37">
            <a:extLst>
              <a:ext uri="{FF2B5EF4-FFF2-40B4-BE49-F238E27FC236}">
                <a16:creationId xmlns:a16="http://schemas.microsoft.com/office/drawing/2014/main" id="{92665F91-D2D8-4CEF-B526-8C7CBAC20871}"/>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3766830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ouble Header, Circle">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FFE816-F799-46CC-8EFA-5FE4A123E23D}"/>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8" name="Picture 7">
            <a:extLst>
              <a:ext uri="{FF2B5EF4-FFF2-40B4-BE49-F238E27FC236}">
                <a16:creationId xmlns:a16="http://schemas.microsoft.com/office/drawing/2014/main" id="{68C40377-6254-43F2-8398-4A4F34B1E4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1" name="Rectangle 10">
            <a:extLst>
              <a:ext uri="{FF2B5EF4-FFF2-40B4-BE49-F238E27FC236}">
                <a16:creationId xmlns:a16="http://schemas.microsoft.com/office/drawing/2014/main" id="{B7EBC413-65A5-4E69-8650-5FCA573E240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5" name="Picture 14">
            <a:extLst>
              <a:ext uri="{FF2B5EF4-FFF2-40B4-BE49-F238E27FC236}">
                <a16:creationId xmlns:a16="http://schemas.microsoft.com/office/drawing/2014/main" id="{F55BA0EE-27F6-4A66-97D6-E258D7098151}"/>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Title 1">
            <a:extLst>
              <a:ext uri="{FF2B5EF4-FFF2-40B4-BE49-F238E27FC236}">
                <a16:creationId xmlns:a16="http://schemas.microsoft.com/office/drawing/2014/main" id="{8D4E0485-540D-4E30-879D-601083F3883D}"/>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circle</a:t>
            </a:r>
            <a:endParaRPr lang="en-GB" dirty="0"/>
          </a:p>
        </p:txBody>
      </p:sp>
      <p:sp>
        <p:nvSpPr>
          <p:cNvPr id="10" name="Text Placeholder 6">
            <a:extLst>
              <a:ext uri="{FF2B5EF4-FFF2-40B4-BE49-F238E27FC236}">
                <a16:creationId xmlns:a16="http://schemas.microsoft.com/office/drawing/2014/main" id="{36E295BD-73FC-4681-840C-AE6DB884664C}"/>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8B686332-D030-4EC8-875A-966381865AE8}"/>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81847518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no icon</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Content Placeholder 2">
            <a:extLst>
              <a:ext uri="{FF2B5EF4-FFF2-40B4-BE49-F238E27FC236}">
                <a16:creationId xmlns:a16="http://schemas.microsoft.com/office/drawing/2014/main" id="{0B7C0097-4CB1-4893-9CED-D822C48935FF}"/>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4661892"/>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Girl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a:extLst>
              <a:ext uri="{FF2B5EF4-FFF2-40B4-BE49-F238E27FC236}">
                <a16:creationId xmlns:a16="http://schemas.microsoft.com/office/drawing/2014/main" id="{012EA357-3E31-4AC8-A81F-19BA3DEF25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298" b="2298"/>
          <a:stretch/>
        </p:blipFill>
        <p:spPr>
          <a:xfrm>
            <a:off x="0"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0"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95633339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Blo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a:extLst>
              <a:ext uri="{FF2B5EF4-FFF2-40B4-BE49-F238E27FC236}">
                <a16:creationId xmlns:a16="http://schemas.microsoft.com/office/drawing/2014/main" id="{E8283299-30A7-4D60-A36B-6EC59CBA35A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6186" b="10899"/>
          <a:stretch/>
        </p:blipFill>
        <p:spPr>
          <a:xfrm>
            <a:off x="6455"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6455"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521830E7-03D0-46A9-8A28-FD4191B0994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28690321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Buildin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descr="A picture containing building&#10;&#10;Description automatically generated">
            <a:extLst>
              <a:ext uri="{FF2B5EF4-FFF2-40B4-BE49-F238E27FC236}">
                <a16:creationId xmlns:a16="http://schemas.microsoft.com/office/drawing/2014/main" id="{B3D6141F-6094-40A7-8BAD-509054435D4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71" b="7871"/>
          <a:stretch/>
        </p:blipFill>
        <p:spPr>
          <a:xfrm>
            <a:off x="-4431" y="0"/>
            <a:ext cx="12213771"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4431"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1D4A7E7A-6B3E-42AC-9B8F-4D305DFF435E}"/>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893303170"/>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2A610B1-91B8-4286-A62C-13768BD19BF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Rectangle 6">
            <a:extLst>
              <a:ext uri="{FF2B5EF4-FFF2-40B4-BE49-F238E27FC236}">
                <a16:creationId xmlns:a16="http://schemas.microsoft.com/office/drawing/2014/main" id="{9FC85945-97C1-4E9B-9C52-7EC5016A757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a:extLst>
              <a:ext uri="{FF2B5EF4-FFF2-40B4-BE49-F238E27FC236}">
                <a16:creationId xmlns:a16="http://schemas.microsoft.com/office/drawing/2014/main" id="{2D1C964C-A1CD-41BD-AD80-BF152FEB6274}"/>
              </a:ext>
            </a:extLst>
          </p:cNvPr>
          <p:cNvPicPr>
            <a:picLocks noChangeAspect="1"/>
          </p:cNvPicPr>
          <p:nvPr userDrawn="1"/>
        </p:nvPicPr>
        <p:blipFill rotWithShape="1">
          <a:blip r:embed="rId4"/>
          <a:srcRect l="31024" t="1798"/>
          <a:stretch/>
        </p:blipFill>
        <p:spPr>
          <a:xfrm>
            <a:off x="0" y="0"/>
            <a:ext cx="1388962" cy="2352086"/>
          </a:xfrm>
          <a:prstGeom prst="rect">
            <a:avLst/>
          </a:prstGeom>
        </p:spPr>
      </p:pic>
      <p:sp>
        <p:nvSpPr>
          <p:cNvPr id="8" name="Text Placeholder 3">
            <a:extLst>
              <a:ext uri="{FF2B5EF4-FFF2-40B4-BE49-F238E27FC236}">
                <a16:creationId xmlns:a16="http://schemas.microsoft.com/office/drawing/2014/main" id="{D0654A42-9463-4E9E-86C0-6D7311D71D55}"/>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tx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3409165611"/>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Confeftti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a:extLst>
              <a:ext uri="{FF2B5EF4-FFF2-40B4-BE49-F238E27FC236}">
                <a16:creationId xmlns:a16="http://schemas.microsoft.com/office/drawing/2014/main" id="{4DAE554D-0F0B-4DEF-AD6B-7F3AA8098CE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73928"/>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027270249"/>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Door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tree, outdoor, plant, red&#10;&#10;Description automatically generated">
            <a:extLst>
              <a:ext uri="{FF2B5EF4-FFF2-40B4-BE49-F238E27FC236}">
                <a16:creationId xmlns:a16="http://schemas.microsoft.com/office/drawing/2014/main" id="{F42B88DF-3DA6-4308-8BE2-F4872891C3D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1280" y="0"/>
            <a:ext cx="12192000" cy="6858001"/>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62211781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ider, Happ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person&#10;&#10;Description automatically generated">
            <a:extLst>
              <a:ext uri="{FF2B5EF4-FFF2-40B4-BE49-F238E27FC236}">
                <a16:creationId xmlns:a16="http://schemas.microsoft.com/office/drawing/2014/main" id="{6C90C1B1-B377-4F6F-BEF7-C47A0D48349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03072065"/>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Mail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text&#10;&#10;Description automatically generated">
            <a:extLst>
              <a:ext uri="{FF2B5EF4-FFF2-40B4-BE49-F238E27FC236}">
                <a16:creationId xmlns:a16="http://schemas.microsoft.com/office/drawing/2014/main" id="{AFB9357E-558F-428B-A5A6-0FB343B103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8353255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oor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descr="A picture containing tree, outdoor, plant, red&#10;&#10;Description automatically generated">
            <a:extLst>
              <a:ext uri="{FF2B5EF4-FFF2-40B4-BE49-F238E27FC236}">
                <a16:creationId xmlns:a16="http://schemas.microsoft.com/office/drawing/2014/main" id="{E801FC8F-7965-4143-B463-4147C77A9F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0" y="0"/>
            <a:ext cx="12205313" cy="6858001"/>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b="961"/>
          <a:stretch/>
        </p:blipFill>
        <p:spPr>
          <a:xfrm>
            <a:off x="0" y="0"/>
            <a:ext cx="12205313" cy="6858000"/>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9" name="Title 3">
            <a:extLst>
              <a:ext uri="{FF2B5EF4-FFF2-40B4-BE49-F238E27FC236}">
                <a16:creationId xmlns:a16="http://schemas.microsoft.com/office/drawing/2014/main" id="{FE9BD497-5AAB-41B9-961A-40256A55BEA1}"/>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0" name="Subtitle 2">
            <a:extLst>
              <a:ext uri="{FF2B5EF4-FFF2-40B4-BE49-F238E27FC236}">
                <a16:creationId xmlns:a16="http://schemas.microsoft.com/office/drawing/2014/main" id="{242ABB38-0127-4B54-A205-65921DBE4C6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1" name="Text Placeholder 37">
            <a:extLst>
              <a:ext uri="{FF2B5EF4-FFF2-40B4-BE49-F238E27FC236}">
                <a16:creationId xmlns:a16="http://schemas.microsoft.com/office/drawing/2014/main" id="{88748023-B528-4F87-9694-5268B9129155}"/>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1942562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Reading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id="{66675FA5-F84C-4C90-B66A-4780FDD866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 y="-9635"/>
            <a:ext cx="12192000" cy="687727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1" y="-19272"/>
            <a:ext cx="12191999" cy="6877272"/>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28933309"/>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Famil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descr="A picture containing table, desk&#10;&#10;Description automatically generated">
            <a:extLst>
              <a:ext uri="{FF2B5EF4-FFF2-40B4-BE49-F238E27FC236}">
                <a16:creationId xmlns:a16="http://schemas.microsoft.com/office/drawing/2014/main" id="{59B92E07-D5AC-438D-8035-5AF4A87FE69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8751" b="684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354813177"/>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2DFAEB6-D87B-5748-9596-A7B509E92355}"/>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rgbClr val="000000"/>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0" name="Picture 9">
            <a:extLst>
              <a:ext uri="{FF2B5EF4-FFF2-40B4-BE49-F238E27FC236}">
                <a16:creationId xmlns:a16="http://schemas.microsoft.com/office/drawing/2014/main" id="{BAB61B32-6203-7141-A3BE-E8879E3EF5E4}"/>
              </a:ext>
            </a:extLst>
          </p:cNvPr>
          <p:cNvPicPr>
            <a:picLocks noChangeAspect="1"/>
          </p:cNvPicPr>
          <p:nvPr userDrawn="1"/>
        </p:nvPicPr>
        <p:blipFill rotWithShape="1">
          <a:blip r:embed="rId3"/>
          <a:srcRect l="31024" t="1798"/>
          <a:stretch/>
        </p:blipFill>
        <p:spPr>
          <a:xfrm>
            <a:off x="0" y="0"/>
            <a:ext cx="1388962" cy="2352086"/>
          </a:xfrm>
          <a:prstGeom prst="rect">
            <a:avLst/>
          </a:prstGeom>
        </p:spPr>
      </p:pic>
      <p:pic>
        <p:nvPicPr>
          <p:cNvPr id="5" name="Picture 4">
            <a:extLst>
              <a:ext uri="{FF2B5EF4-FFF2-40B4-BE49-F238E27FC236}">
                <a16:creationId xmlns:a16="http://schemas.microsoft.com/office/drawing/2014/main" id="{7C4BBE08-932E-42F7-A655-A237F2DD1F7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6" name="Rectangle 5">
            <a:extLst>
              <a:ext uri="{FF2B5EF4-FFF2-40B4-BE49-F238E27FC236}">
                <a16:creationId xmlns:a16="http://schemas.microsoft.com/office/drawing/2014/main" id="{5F2FC916-1ED6-402E-A80D-CD430134C963}"/>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77341954"/>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45D803-1BF7-40EA-AC91-081933E6A3B1}"/>
              </a:ext>
            </a:extLst>
          </p:cNvPr>
          <p:cNvSpPr>
            <a:spLocks noGrp="1"/>
          </p:cNvSpPr>
          <p:nvPr>
            <p:ph sz="quarter" idx="16" hasCustomPrompt="1"/>
          </p:nvPr>
        </p:nvSpPr>
        <p:spPr>
          <a:xfrm>
            <a:off x="424141"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Slide Number Placeholder 3">
            <a:extLst>
              <a:ext uri="{FF2B5EF4-FFF2-40B4-BE49-F238E27FC236}">
                <a16:creationId xmlns:a16="http://schemas.microsoft.com/office/drawing/2014/main" id="{F5F2191B-F9B2-4D52-B126-519167AFCB79}"/>
              </a:ext>
            </a:extLst>
          </p:cNvPr>
          <p:cNvSpPr>
            <a:spLocks noGrp="1"/>
          </p:cNvSpPr>
          <p:nvPr>
            <p:ph type="sldNum" sz="quarter" idx="19"/>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30E8CAE5-9552-4F56-BD9E-0EA1626B371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3B1A7618-3887-4838-98CE-FDFA033A94BE}"/>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247F5898-E811-49FE-9FB9-91A9366B7AA4}"/>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16" name="Title 1">
            <a:extLst>
              <a:ext uri="{FF2B5EF4-FFF2-40B4-BE49-F238E27FC236}">
                <a16:creationId xmlns:a16="http://schemas.microsoft.com/office/drawing/2014/main" id="{241B46AD-0363-49D0-9A55-12F4487A177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lide, 2 columns</a:t>
            </a:r>
            <a:endParaRPr lang="en-GB" dirty="0"/>
          </a:p>
        </p:txBody>
      </p:sp>
      <p:sp>
        <p:nvSpPr>
          <p:cNvPr id="17" name="Text Placeholder 6">
            <a:extLst>
              <a:ext uri="{FF2B5EF4-FFF2-40B4-BE49-F238E27FC236}">
                <a16:creationId xmlns:a16="http://schemas.microsoft.com/office/drawing/2014/main" id="{700C11B1-45C3-463E-A925-394850B1A6A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BC9C4766-C987-4787-8811-9BA501FABE58}"/>
              </a:ext>
            </a:extLst>
          </p:cNvPr>
          <p:cNvSpPr>
            <a:spLocks noGrp="1"/>
          </p:cNvSpPr>
          <p:nvPr>
            <p:ph sz="quarter" idx="20" hasCustomPrompt="1"/>
          </p:nvPr>
        </p:nvSpPr>
        <p:spPr>
          <a:xfrm>
            <a:off x="6279757"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86737330"/>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Righ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6095997"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7" name="Picture 6">
            <a:extLst>
              <a:ext uri="{FF2B5EF4-FFF2-40B4-BE49-F238E27FC236}">
                <a16:creationId xmlns:a16="http://schemas.microsoft.com/office/drawing/2014/main" id="{5575CACC-D8E6-429F-B461-2AD69D5E94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4" name="Slide Number Placeholder 3">
            <a:extLst>
              <a:ext uri="{FF2B5EF4-FFF2-40B4-BE49-F238E27FC236}">
                <a16:creationId xmlns:a16="http://schemas.microsoft.com/office/drawing/2014/main" id="{7D8EA5AD-0373-4832-9455-A2EA79A24CBA}"/>
              </a:ext>
            </a:extLst>
          </p:cNvPr>
          <p:cNvSpPr>
            <a:spLocks noGrp="1"/>
          </p:cNvSpPr>
          <p:nvPr>
            <p:ph type="sldNum" sz="quarter" idx="16"/>
          </p:nvPr>
        </p:nvSpPr>
        <p:spPr/>
        <p:txBody>
          <a:bodyPr/>
          <a:lstStyle/>
          <a:p>
            <a:fld id="{3787542D-5C6B-4EB3-96EB-9B37C3D5D2F8}" type="slidenum">
              <a:rPr lang="en-GB" smtClean="0"/>
              <a:t>‹#›</a:t>
            </a:fld>
            <a:endParaRPr lang="en-GB" dirty="0"/>
          </a:p>
        </p:txBody>
      </p:sp>
      <p:sp>
        <p:nvSpPr>
          <p:cNvPr id="8" name="Rectangle 7">
            <a:extLst>
              <a:ext uri="{FF2B5EF4-FFF2-40B4-BE49-F238E27FC236}">
                <a16:creationId xmlns:a16="http://schemas.microsoft.com/office/drawing/2014/main" id="{9CE82FAA-2779-4023-94E9-577DEB0536F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C95D6172-C0E9-4E3B-8F0F-CAA09AEA1364}"/>
              </a:ext>
            </a:extLst>
          </p:cNvPr>
          <p:cNvSpPr>
            <a:spLocks noGrp="1"/>
          </p:cNvSpPr>
          <p:nvPr>
            <p:ph type="title" hasCustomPrompt="1"/>
          </p:nvPr>
        </p:nvSpPr>
        <p:spPr>
          <a:xfrm>
            <a:off x="486000"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12" name="Content Placeholder 2">
            <a:extLst>
              <a:ext uri="{FF2B5EF4-FFF2-40B4-BE49-F238E27FC236}">
                <a16:creationId xmlns:a16="http://schemas.microsoft.com/office/drawing/2014/main" id="{87AF0242-6BDB-4BD8-A348-BBFF21B1E015}"/>
              </a:ext>
            </a:extLst>
          </p:cNvPr>
          <p:cNvSpPr>
            <a:spLocks noGrp="1"/>
          </p:cNvSpPr>
          <p:nvPr>
            <p:ph sz="quarter" idx="17" hasCustomPrompt="1"/>
          </p:nvPr>
        </p:nvSpPr>
        <p:spPr>
          <a:xfrm>
            <a:off x="424142" y="1779739"/>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216614260"/>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Lef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0"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0213"/>
            <a:ext cx="583849" cy="362932"/>
          </a:xfrm>
          <a:prstGeom prst="rect">
            <a:avLst/>
          </a:prstGeom>
        </p:spPr>
      </p:pic>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79092301"/>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adrants">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A55C5423-B0BC-4B3A-8B1C-E8B29CF73B39}"/>
              </a:ext>
            </a:extLst>
          </p:cNvPr>
          <p:cNvSpPr>
            <a:spLocks noGrp="1"/>
          </p:cNvSpPr>
          <p:nvPr>
            <p:ph type="pic" sz="quarter" idx="13" hasCustomPrompt="1"/>
          </p:nvPr>
        </p:nvSpPr>
        <p:spPr>
          <a:xfrm>
            <a:off x="0" y="0"/>
            <a:ext cx="6062961" cy="33383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5" name="Slide Number Placeholder 2">
            <a:extLst>
              <a:ext uri="{FF2B5EF4-FFF2-40B4-BE49-F238E27FC236}">
                <a16:creationId xmlns:a16="http://schemas.microsoft.com/office/drawing/2014/main" id="{4927F751-04E0-47BC-AF64-AA7D969C6505}"/>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8" name="Picture Placeholder 4">
            <a:extLst>
              <a:ext uri="{FF2B5EF4-FFF2-40B4-BE49-F238E27FC236}">
                <a16:creationId xmlns:a16="http://schemas.microsoft.com/office/drawing/2014/main" id="{637B374C-4DE5-4B68-ABCC-646D992BEB28}"/>
              </a:ext>
            </a:extLst>
          </p:cNvPr>
          <p:cNvSpPr>
            <a:spLocks noGrp="1"/>
          </p:cNvSpPr>
          <p:nvPr>
            <p:ph type="pic" sz="quarter" idx="15" hasCustomPrompt="1"/>
          </p:nvPr>
        </p:nvSpPr>
        <p:spPr>
          <a:xfrm>
            <a:off x="6065438" y="3338300"/>
            <a:ext cx="6126562" cy="35197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10" name="Picture 9">
            <a:extLst>
              <a:ext uri="{FF2B5EF4-FFF2-40B4-BE49-F238E27FC236}">
                <a16:creationId xmlns:a16="http://schemas.microsoft.com/office/drawing/2014/main" id="{0F59BEFC-AABE-43C1-B155-999F122614E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Text Placeholder 6">
            <a:extLst>
              <a:ext uri="{FF2B5EF4-FFF2-40B4-BE49-F238E27FC236}">
                <a16:creationId xmlns:a16="http://schemas.microsoft.com/office/drawing/2014/main" id="{CB0B8B5A-C547-4570-9238-68061E53F772}"/>
              </a:ext>
            </a:extLst>
          </p:cNvPr>
          <p:cNvSpPr>
            <a:spLocks noGrp="1"/>
          </p:cNvSpPr>
          <p:nvPr>
            <p:ph type="body" sz="quarter" idx="22" hasCustomPrompt="1"/>
          </p:nvPr>
        </p:nvSpPr>
        <p:spPr>
          <a:xfrm>
            <a:off x="6480175" y="1781175"/>
            <a:ext cx="5276624"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
        <p:nvSpPr>
          <p:cNvPr id="11" name="Rectangle 10">
            <a:extLst>
              <a:ext uri="{FF2B5EF4-FFF2-40B4-BE49-F238E27FC236}">
                <a16:creationId xmlns:a16="http://schemas.microsoft.com/office/drawing/2014/main" id="{73FB6EAE-A378-4EA6-9478-F2F0740EA54F}"/>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
            <a:extLst>
              <a:ext uri="{FF2B5EF4-FFF2-40B4-BE49-F238E27FC236}">
                <a16:creationId xmlns:a16="http://schemas.microsoft.com/office/drawing/2014/main" id="{CADDF625-A76B-495A-8620-28A80A9A1ED2}"/>
              </a:ext>
            </a:extLst>
          </p:cNvPr>
          <p:cNvSpPr txBox="1">
            <a:spLocks/>
          </p:cNvSpPr>
          <p:nvPr userDrawn="1"/>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4" name="Title 1">
            <a:extLst>
              <a:ext uri="{FF2B5EF4-FFF2-40B4-BE49-F238E27FC236}">
                <a16:creationId xmlns:a16="http://schemas.microsoft.com/office/drawing/2014/main" id="{7C1330A8-DF3E-41E3-AB7E-AB4557754C7E}"/>
              </a:ext>
            </a:extLst>
          </p:cNvPr>
          <p:cNvSpPr txBox="1">
            <a:spLocks/>
          </p:cNvSpPr>
          <p:nvPr userDrawn="1"/>
        </p:nvSpPr>
        <p:spPr>
          <a:xfrm>
            <a:off x="481942" y="3722747"/>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6" name="Text Placeholder 6">
            <a:extLst>
              <a:ext uri="{FF2B5EF4-FFF2-40B4-BE49-F238E27FC236}">
                <a16:creationId xmlns:a16="http://schemas.microsoft.com/office/drawing/2014/main" id="{5C1B24B7-CA04-4E8D-B2B5-DC4E1636585E}"/>
              </a:ext>
            </a:extLst>
          </p:cNvPr>
          <p:cNvSpPr>
            <a:spLocks noGrp="1"/>
          </p:cNvSpPr>
          <p:nvPr>
            <p:ph type="body" sz="quarter" idx="24" hasCustomPrompt="1"/>
          </p:nvPr>
        </p:nvSpPr>
        <p:spPr>
          <a:xfrm>
            <a:off x="415267" y="4847569"/>
            <a:ext cx="5183188"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963380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4" name="Rectangle 3">
            <a:extLst>
              <a:ext uri="{FF2B5EF4-FFF2-40B4-BE49-F238E27FC236}">
                <a16:creationId xmlns:a16="http://schemas.microsoft.com/office/drawing/2014/main" id="{09E337FF-EC20-FC4E-A512-80CDE51F4AC9}"/>
              </a:ext>
            </a:extLst>
          </p:cNvPr>
          <p:cNvSpPr/>
          <p:nvPr userDrawn="1"/>
        </p:nvSpPr>
        <p:spPr>
          <a:xfrm>
            <a:off x="1065230" y="1927954"/>
            <a:ext cx="3178125" cy="4239035"/>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2601221" y="6177783"/>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6" name="Text Placeholder 35">
            <a:extLst>
              <a:ext uri="{FF2B5EF4-FFF2-40B4-BE49-F238E27FC236}">
                <a16:creationId xmlns:a16="http://schemas.microsoft.com/office/drawing/2014/main" id="{3081F068-E853-4A4F-9EFD-B29B742822AC}"/>
              </a:ext>
            </a:extLst>
          </p:cNvPr>
          <p:cNvSpPr>
            <a:spLocks noGrp="1"/>
          </p:cNvSpPr>
          <p:nvPr>
            <p:ph type="body" sz="quarter" idx="17" hasCustomPrompt="1"/>
          </p:nvPr>
        </p:nvSpPr>
        <p:spPr>
          <a:xfrm>
            <a:off x="1068064" y="2303005"/>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1" name="Text Placeholder 40">
            <a:extLst>
              <a:ext uri="{FF2B5EF4-FFF2-40B4-BE49-F238E27FC236}">
                <a16:creationId xmlns:a16="http://schemas.microsoft.com/office/drawing/2014/main" id="{6E092A17-E78C-9740-AB28-68C7E769D4D8}"/>
              </a:ext>
            </a:extLst>
          </p:cNvPr>
          <p:cNvSpPr>
            <a:spLocks noGrp="1"/>
          </p:cNvSpPr>
          <p:nvPr>
            <p:ph type="body" sz="quarter" idx="21"/>
          </p:nvPr>
        </p:nvSpPr>
        <p:spPr>
          <a:xfrm>
            <a:off x="1178351" y="3637313"/>
            <a:ext cx="2889854"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16" name="Picture 15">
            <a:extLst>
              <a:ext uri="{FF2B5EF4-FFF2-40B4-BE49-F238E27FC236}">
                <a16:creationId xmlns:a16="http://schemas.microsoft.com/office/drawing/2014/main" id="{24CCC52F-1463-4EBC-B99B-A373A1ECE4B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7" name="Slide Number Placeholder 1">
            <a:extLst>
              <a:ext uri="{FF2B5EF4-FFF2-40B4-BE49-F238E27FC236}">
                <a16:creationId xmlns:a16="http://schemas.microsoft.com/office/drawing/2014/main" id="{A7F3F838-60D3-4FEB-B2CA-08F82875A270}"/>
              </a:ext>
            </a:extLst>
          </p:cNvPr>
          <p:cNvSpPr txBox="1">
            <a:spLocks/>
          </p:cNvSpPr>
          <p:nvPr userDrawn="1"/>
        </p:nvSpPr>
        <p:spPr>
          <a:xfrm>
            <a:off x="9182100" y="626110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787542D-5C6B-4EB3-96EB-9B37C3D5D2F8}" type="slidenum">
              <a:rPr lang="en-GB" smtClean="0"/>
              <a:pPr/>
              <a:t>‹#›</a:t>
            </a:fld>
            <a:endParaRPr lang="en-GB" dirty="0"/>
          </a:p>
        </p:txBody>
      </p:sp>
      <p:sp>
        <p:nvSpPr>
          <p:cNvPr id="18" name="Rectangle 17">
            <a:extLst>
              <a:ext uri="{FF2B5EF4-FFF2-40B4-BE49-F238E27FC236}">
                <a16:creationId xmlns:a16="http://schemas.microsoft.com/office/drawing/2014/main" id="{53D576F0-DC67-4F7A-A308-E8A231AB271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Title 1">
            <a:extLst>
              <a:ext uri="{FF2B5EF4-FFF2-40B4-BE49-F238E27FC236}">
                <a16:creationId xmlns:a16="http://schemas.microsoft.com/office/drawing/2014/main" id="{AC7D8C70-D8D3-4616-8AD6-B7531CA6628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3 stages</a:t>
            </a:r>
            <a:endParaRPr lang="en-GB" dirty="0"/>
          </a:p>
        </p:txBody>
      </p:sp>
      <p:sp>
        <p:nvSpPr>
          <p:cNvPr id="20" name="Text Placeholder 6">
            <a:extLst>
              <a:ext uri="{FF2B5EF4-FFF2-40B4-BE49-F238E27FC236}">
                <a16:creationId xmlns:a16="http://schemas.microsoft.com/office/drawing/2014/main" id="{2BD0FB86-6CDA-4632-979A-2F4031FB20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21" name="Rectangle 20">
            <a:extLst>
              <a:ext uri="{FF2B5EF4-FFF2-40B4-BE49-F238E27FC236}">
                <a16:creationId xmlns:a16="http://schemas.microsoft.com/office/drawing/2014/main" id="{A8863C8E-9F0F-4046-A264-6A18A57D022C}"/>
              </a:ext>
            </a:extLst>
          </p:cNvPr>
          <p:cNvSpPr/>
          <p:nvPr userDrawn="1"/>
        </p:nvSpPr>
        <p:spPr>
          <a:xfrm>
            <a:off x="4500922" y="1927954"/>
            <a:ext cx="3178125" cy="4239035"/>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2" name="Text Placeholder 35">
            <a:extLst>
              <a:ext uri="{FF2B5EF4-FFF2-40B4-BE49-F238E27FC236}">
                <a16:creationId xmlns:a16="http://schemas.microsoft.com/office/drawing/2014/main" id="{7DB80790-1AF5-488C-A2EE-375E51A97FA9}"/>
              </a:ext>
            </a:extLst>
          </p:cNvPr>
          <p:cNvSpPr>
            <a:spLocks noGrp="1"/>
          </p:cNvSpPr>
          <p:nvPr>
            <p:ph type="body" sz="quarter" idx="22" hasCustomPrompt="1"/>
          </p:nvPr>
        </p:nvSpPr>
        <p:spPr>
          <a:xfrm>
            <a:off x="4513281" y="2303005"/>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24" name="Text Placeholder 40">
            <a:extLst>
              <a:ext uri="{FF2B5EF4-FFF2-40B4-BE49-F238E27FC236}">
                <a16:creationId xmlns:a16="http://schemas.microsoft.com/office/drawing/2014/main" id="{0E461C60-64BB-43A7-BA8C-34579F84CCE5}"/>
              </a:ext>
            </a:extLst>
          </p:cNvPr>
          <p:cNvSpPr>
            <a:spLocks noGrp="1"/>
          </p:cNvSpPr>
          <p:nvPr>
            <p:ph type="body" sz="quarter" idx="23"/>
          </p:nvPr>
        </p:nvSpPr>
        <p:spPr>
          <a:xfrm>
            <a:off x="4637988" y="3641670"/>
            <a:ext cx="2865909"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25" name="Rectangle 24">
            <a:extLst>
              <a:ext uri="{FF2B5EF4-FFF2-40B4-BE49-F238E27FC236}">
                <a16:creationId xmlns:a16="http://schemas.microsoft.com/office/drawing/2014/main" id="{2A3E954C-0710-40FA-98A2-EB54FBFAE9A0}"/>
              </a:ext>
            </a:extLst>
          </p:cNvPr>
          <p:cNvSpPr/>
          <p:nvPr userDrawn="1"/>
        </p:nvSpPr>
        <p:spPr>
          <a:xfrm>
            <a:off x="7936614" y="1927954"/>
            <a:ext cx="3178125" cy="4239035"/>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6" name="Text Placeholder 35">
            <a:extLst>
              <a:ext uri="{FF2B5EF4-FFF2-40B4-BE49-F238E27FC236}">
                <a16:creationId xmlns:a16="http://schemas.microsoft.com/office/drawing/2014/main" id="{C5BBACFC-697B-4BAB-BD69-B117928B1BD8}"/>
              </a:ext>
            </a:extLst>
          </p:cNvPr>
          <p:cNvSpPr>
            <a:spLocks noGrp="1"/>
          </p:cNvSpPr>
          <p:nvPr>
            <p:ph type="body" sz="quarter" idx="24" hasCustomPrompt="1"/>
          </p:nvPr>
        </p:nvSpPr>
        <p:spPr>
          <a:xfrm>
            <a:off x="7939448" y="2303005"/>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27" name="Text Placeholder 40">
            <a:extLst>
              <a:ext uri="{FF2B5EF4-FFF2-40B4-BE49-F238E27FC236}">
                <a16:creationId xmlns:a16="http://schemas.microsoft.com/office/drawing/2014/main" id="{954A020B-FA48-4C89-898D-1129467DB388}"/>
              </a:ext>
            </a:extLst>
          </p:cNvPr>
          <p:cNvSpPr>
            <a:spLocks noGrp="1"/>
          </p:cNvSpPr>
          <p:nvPr>
            <p:ph type="body" sz="quarter" idx="25"/>
          </p:nvPr>
        </p:nvSpPr>
        <p:spPr>
          <a:xfrm>
            <a:off x="8107052" y="3637313"/>
            <a:ext cx="2832537"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6875656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54" name="Rectangle 53">
            <a:extLst>
              <a:ext uri="{FF2B5EF4-FFF2-40B4-BE49-F238E27FC236}">
                <a16:creationId xmlns:a16="http://schemas.microsoft.com/office/drawing/2014/main" id="{C5413A5D-B0DB-4840-A6F5-293DCA8C23D9}"/>
              </a:ext>
            </a:extLst>
          </p:cNvPr>
          <p:cNvSpPr/>
          <p:nvPr userDrawn="1"/>
        </p:nvSpPr>
        <p:spPr>
          <a:xfrm>
            <a:off x="4792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8547ACD3-9D3A-184E-A273-6B9AD0E17160}"/>
              </a:ext>
            </a:extLst>
          </p:cNvPr>
          <p:cNvSpPr/>
          <p:nvPr userDrawn="1"/>
        </p:nvSpPr>
        <p:spPr>
          <a:xfrm>
            <a:off x="33616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83B1937D-5E8B-4442-A129-2CC064F9A1E0}"/>
              </a:ext>
            </a:extLst>
          </p:cNvPr>
          <p:cNvSpPr/>
          <p:nvPr userDrawn="1"/>
        </p:nvSpPr>
        <p:spPr>
          <a:xfrm>
            <a:off x="62440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7" name="Text Placeholder 35">
            <a:extLst>
              <a:ext uri="{FF2B5EF4-FFF2-40B4-BE49-F238E27FC236}">
                <a16:creationId xmlns:a16="http://schemas.microsoft.com/office/drawing/2014/main" id="{5804C198-EA49-C648-A91C-C264BEA21577}"/>
              </a:ext>
            </a:extLst>
          </p:cNvPr>
          <p:cNvSpPr>
            <a:spLocks noGrp="1"/>
          </p:cNvSpPr>
          <p:nvPr>
            <p:ph type="body" sz="quarter" idx="25" hasCustomPrompt="1"/>
          </p:nvPr>
        </p:nvSpPr>
        <p:spPr>
          <a:xfrm>
            <a:off x="479036" y="2016564"/>
            <a:ext cx="239787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8" name="Text Placeholder 35">
            <a:extLst>
              <a:ext uri="{FF2B5EF4-FFF2-40B4-BE49-F238E27FC236}">
                <a16:creationId xmlns:a16="http://schemas.microsoft.com/office/drawing/2014/main" id="{D9DE2891-000C-7A47-9395-327F4FFE972E}"/>
              </a:ext>
            </a:extLst>
          </p:cNvPr>
          <p:cNvSpPr>
            <a:spLocks noGrp="1"/>
          </p:cNvSpPr>
          <p:nvPr>
            <p:ph type="body" sz="quarter" idx="26" hasCustomPrompt="1"/>
          </p:nvPr>
        </p:nvSpPr>
        <p:spPr>
          <a:xfrm>
            <a:off x="33616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9" name="Text Placeholder 35">
            <a:extLst>
              <a:ext uri="{FF2B5EF4-FFF2-40B4-BE49-F238E27FC236}">
                <a16:creationId xmlns:a16="http://schemas.microsoft.com/office/drawing/2014/main" id="{144C8D64-11B4-554F-BD17-394B6F559EAD}"/>
              </a:ext>
            </a:extLst>
          </p:cNvPr>
          <p:cNvSpPr>
            <a:spLocks noGrp="1"/>
          </p:cNvSpPr>
          <p:nvPr>
            <p:ph type="body" sz="quarter" idx="27" hasCustomPrompt="1"/>
          </p:nvPr>
        </p:nvSpPr>
        <p:spPr>
          <a:xfrm>
            <a:off x="62440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0" name="Text Placeholder 40">
            <a:extLst>
              <a:ext uri="{FF2B5EF4-FFF2-40B4-BE49-F238E27FC236}">
                <a16:creationId xmlns:a16="http://schemas.microsoft.com/office/drawing/2014/main" id="{4A50721B-5180-6246-9B49-B012E18188B5}"/>
              </a:ext>
            </a:extLst>
          </p:cNvPr>
          <p:cNvSpPr>
            <a:spLocks noGrp="1"/>
          </p:cNvSpPr>
          <p:nvPr>
            <p:ph type="body" sz="quarter" idx="28"/>
          </p:nvPr>
        </p:nvSpPr>
        <p:spPr>
          <a:xfrm>
            <a:off x="6544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1" name="Text Placeholder 40">
            <a:extLst>
              <a:ext uri="{FF2B5EF4-FFF2-40B4-BE49-F238E27FC236}">
                <a16:creationId xmlns:a16="http://schemas.microsoft.com/office/drawing/2014/main" id="{5009098B-C9C2-6D4D-B4C8-66B13FEA524F}"/>
              </a:ext>
            </a:extLst>
          </p:cNvPr>
          <p:cNvSpPr>
            <a:spLocks noGrp="1"/>
          </p:cNvSpPr>
          <p:nvPr>
            <p:ph type="body" sz="quarter" idx="29"/>
          </p:nvPr>
        </p:nvSpPr>
        <p:spPr>
          <a:xfrm>
            <a:off x="35368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2" name="Text Placeholder 40">
            <a:extLst>
              <a:ext uri="{FF2B5EF4-FFF2-40B4-BE49-F238E27FC236}">
                <a16:creationId xmlns:a16="http://schemas.microsoft.com/office/drawing/2014/main" id="{A5DF1411-B4B7-574E-9BAB-9A4186C43E81}"/>
              </a:ext>
            </a:extLst>
          </p:cNvPr>
          <p:cNvSpPr>
            <a:spLocks noGrp="1"/>
          </p:cNvSpPr>
          <p:nvPr>
            <p:ph type="body" sz="quarter" idx="30"/>
          </p:nvPr>
        </p:nvSpPr>
        <p:spPr>
          <a:xfrm>
            <a:off x="64192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3" name="Rectangle 62">
            <a:extLst>
              <a:ext uri="{FF2B5EF4-FFF2-40B4-BE49-F238E27FC236}">
                <a16:creationId xmlns:a16="http://schemas.microsoft.com/office/drawing/2014/main" id="{6DA0BE2C-2F41-C94A-99E2-9E9C8539EC62}"/>
              </a:ext>
            </a:extLst>
          </p:cNvPr>
          <p:cNvSpPr/>
          <p:nvPr userDrawn="1"/>
        </p:nvSpPr>
        <p:spPr>
          <a:xfrm>
            <a:off x="9133199" y="2002478"/>
            <a:ext cx="2572799" cy="3991922"/>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4" name="Text Placeholder 35">
            <a:extLst>
              <a:ext uri="{FF2B5EF4-FFF2-40B4-BE49-F238E27FC236}">
                <a16:creationId xmlns:a16="http://schemas.microsoft.com/office/drawing/2014/main" id="{5615BD06-674B-6B41-A1B5-8A66AF698957}"/>
              </a:ext>
            </a:extLst>
          </p:cNvPr>
          <p:cNvSpPr>
            <a:spLocks noGrp="1"/>
          </p:cNvSpPr>
          <p:nvPr>
            <p:ph type="body" sz="quarter" idx="31" hasCustomPrompt="1"/>
          </p:nvPr>
        </p:nvSpPr>
        <p:spPr>
          <a:xfrm>
            <a:off x="9133195" y="2002478"/>
            <a:ext cx="23976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5" name="Text Placeholder 40">
            <a:extLst>
              <a:ext uri="{FF2B5EF4-FFF2-40B4-BE49-F238E27FC236}">
                <a16:creationId xmlns:a16="http://schemas.microsoft.com/office/drawing/2014/main" id="{A572828F-67C2-5748-B663-D94F10F66173}"/>
              </a:ext>
            </a:extLst>
          </p:cNvPr>
          <p:cNvSpPr>
            <a:spLocks noGrp="1"/>
          </p:cNvSpPr>
          <p:nvPr>
            <p:ph type="body" sz="quarter" idx="32"/>
          </p:nvPr>
        </p:nvSpPr>
        <p:spPr>
          <a:xfrm>
            <a:off x="9308348" y="3336786"/>
            <a:ext cx="2222500" cy="254376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0" name="Picture 19">
            <a:extLst>
              <a:ext uri="{FF2B5EF4-FFF2-40B4-BE49-F238E27FC236}">
                <a16:creationId xmlns:a16="http://schemas.microsoft.com/office/drawing/2014/main" id="{AF2ADDD6-64C2-42E4-8BC8-1D19C8E1831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9" name="Rectangle 18">
            <a:extLst>
              <a:ext uri="{FF2B5EF4-FFF2-40B4-BE49-F238E27FC236}">
                <a16:creationId xmlns:a16="http://schemas.microsoft.com/office/drawing/2014/main" id="{1A375A71-02A2-4AE6-9C69-5955E9F54FC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Title 1">
            <a:extLst>
              <a:ext uri="{FF2B5EF4-FFF2-40B4-BE49-F238E27FC236}">
                <a16:creationId xmlns:a16="http://schemas.microsoft.com/office/drawing/2014/main" id="{4D82E014-C022-4946-BD0C-5DFBBCBF634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4 stages</a:t>
            </a:r>
            <a:endParaRPr lang="en-GB" dirty="0"/>
          </a:p>
        </p:txBody>
      </p:sp>
      <p:sp>
        <p:nvSpPr>
          <p:cNvPr id="22" name="Text Placeholder 6">
            <a:extLst>
              <a:ext uri="{FF2B5EF4-FFF2-40B4-BE49-F238E27FC236}">
                <a16:creationId xmlns:a16="http://schemas.microsoft.com/office/drawing/2014/main" id="{7712F491-DD76-489B-BBD3-E024ECB9B85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16615423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0" name="Rectangle 29">
            <a:extLst>
              <a:ext uri="{FF2B5EF4-FFF2-40B4-BE49-F238E27FC236}">
                <a16:creationId xmlns:a16="http://schemas.microsoft.com/office/drawing/2014/main" id="{8B9FDD73-9E09-7945-9A46-BD5E2414CC7A}"/>
              </a:ext>
            </a:extLst>
          </p:cNvPr>
          <p:cNvSpPr/>
          <p:nvPr userDrawn="1"/>
        </p:nvSpPr>
        <p:spPr>
          <a:xfrm>
            <a:off x="479260"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1" name="Text Placeholder 35">
            <a:extLst>
              <a:ext uri="{FF2B5EF4-FFF2-40B4-BE49-F238E27FC236}">
                <a16:creationId xmlns:a16="http://schemas.microsoft.com/office/drawing/2014/main" id="{19C27A68-9FF1-5044-A2C5-4DBCD9AA900B}"/>
              </a:ext>
            </a:extLst>
          </p:cNvPr>
          <p:cNvSpPr>
            <a:spLocks noGrp="1"/>
          </p:cNvSpPr>
          <p:nvPr>
            <p:ph type="body" sz="quarter" idx="34" hasCustomPrompt="1"/>
          </p:nvPr>
        </p:nvSpPr>
        <p:spPr>
          <a:xfrm>
            <a:off x="479036"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2" name="Text Placeholder 40">
            <a:extLst>
              <a:ext uri="{FF2B5EF4-FFF2-40B4-BE49-F238E27FC236}">
                <a16:creationId xmlns:a16="http://schemas.microsoft.com/office/drawing/2014/main" id="{F7B29AC3-37AB-C743-BDD2-724C756910EE}"/>
              </a:ext>
            </a:extLst>
          </p:cNvPr>
          <p:cNvSpPr>
            <a:spLocks noGrp="1"/>
          </p:cNvSpPr>
          <p:nvPr>
            <p:ph type="body" sz="quarter" idx="35"/>
          </p:nvPr>
        </p:nvSpPr>
        <p:spPr>
          <a:xfrm>
            <a:off x="654408"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37" name="Rectangle 36">
            <a:extLst>
              <a:ext uri="{FF2B5EF4-FFF2-40B4-BE49-F238E27FC236}">
                <a16:creationId xmlns:a16="http://schemas.microsoft.com/office/drawing/2014/main" id="{60F8F6B4-6036-C249-B4BA-C168CF827E1E}"/>
              </a:ext>
            </a:extLst>
          </p:cNvPr>
          <p:cNvSpPr/>
          <p:nvPr userDrawn="1"/>
        </p:nvSpPr>
        <p:spPr>
          <a:xfrm>
            <a:off x="9704437"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8" name="Text Placeholder 35">
            <a:extLst>
              <a:ext uri="{FF2B5EF4-FFF2-40B4-BE49-F238E27FC236}">
                <a16:creationId xmlns:a16="http://schemas.microsoft.com/office/drawing/2014/main" id="{8C57C1B8-9938-3E47-97E3-B2D59ED6E069}"/>
              </a:ext>
            </a:extLst>
          </p:cNvPr>
          <p:cNvSpPr>
            <a:spLocks noGrp="1"/>
          </p:cNvSpPr>
          <p:nvPr>
            <p:ph type="body" sz="quarter" idx="36" hasCustomPrompt="1"/>
          </p:nvPr>
        </p:nvSpPr>
        <p:spPr>
          <a:xfrm>
            <a:off x="9704213"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9" name="Text Placeholder 40">
            <a:extLst>
              <a:ext uri="{FF2B5EF4-FFF2-40B4-BE49-F238E27FC236}">
                <a16:creationId xmlns:a16="http://schemas.microsoft.com/office/drawing/2014/main" id="{FA070F3E-1E3F-5548-A52A-A061CB950F52}"/>
              </a:ext>
            </a:extLst>
          </p:cNvPr>
          <p:cNvSpPr>
            <a:spLocks noGrp="1"/>
          </p:cNvSpPr>
          <p:nvPr>
            <p:ph type="body" sz="quarter" idx="37"/>
          </p:nvPr>
        </p:nvSpPr>
        <p:spPr>
          <a:xfrm>
            <a:off x="9879585"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45" name="Rectangle 44">
            <a:extLst>
              <a:ext uri="{FF2B5EF4-FFF2-40B4-BE49-F238E27FC236}">
                <a16:creationId xmlns:a16="http://schemas.microsoft.com/office/drawing/2014/main" id="{261DC7A1-4BB9-5B40-AFAF-71BDEE28335E}"/>
              </a:ext>
            </a:extLst>
          </p:cNvPr>
          <p:cNvSpPr/>
          <p:nvPr userDrawn="1"/>
        </p:nvSpPr>
        <p:spPr>
          <a:xfrm>
            <a:off x="2790498"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48" name="Text Placeholder 35">
            <a:extLst>
              <a:ext uri="{FF2B5EF4-FFF2-40B4-BE49-F238E27FC236}">
                <a16:creationId xmlns:a16="http://schemas.microsoft.com/office/drawing/2014/main" id="{96A46CA0-C97B-8C42-9EB8-D546DC353576}"/>
              </a:ext>
            </a:extLst>
          </p:cNvPr>
          <p:cNvSpPr>
            <a:spLocks noGrp="1"/>
          </p:cNvSpPr>
          <p:nvPr>
            <p:ph type="body" sz="quarter" idx="38" hasCustomPrompt="1"/>
          </p:nvPr>
        </p:nvSpPr>
        <p:spPr>
          <a:xfrm>
            <a:off x="2790274"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9" name="Text Placeholder 40">
            <a:extLst>
              <a:ext uri="{FF2B5EF4-FFF2-40B4-BE49-F238E27FC236}">
                <a16:creationId xmlns:a16="http://schemas.microsoft.com/office/drawing/2014/main" id="{F6925924-8438-2446-A508-AE1269688610}"/>
              </a:ext>
            </a:extLst>
          </p:cNvPr>
          <p:cNvSpPr>
            <a:spLocks noGrp="1"/>
          </p:cNvSpPr>
          <p:nvPr>
            <p:ph type="body" sz="quarter" idx="39"/>
          </p:nvPr>
        </p:nvSpPr>
        <p:spPr>
          <a:xfrm>
            <a:off x="2965646"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0" name="Rectangle 49">
            <a:extLst>
              <a:ext uri="{FF2B5EF4-FFF2-40B4-BE49-F238E27FC236}">
                <a16:creationId xmlns:a16="http://schemas.microsoft.com/office/drawing/2014/main" id="{6C128985-4F07-4340-B117-75623A4798A1}"/>
              </a:ext>
            </a:extLst>
          </p:cNvPr>
          <p:cNvSpPr/>
          <p:nvPr userDrawn="1"/>
        </p:nvSpPr>
        <p:spPr>
          <a:xfrm>
            <a:off x="5095449"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1" name="Text Placeholder 35">
            <a:extLst>
              <a:ext uri="{FF2B5EF4-FFF2-40B4-BE49-F238E27FC236}">
                <a16:creationId xmlns:a16="http://schemas.microsoft.com/office/drawing/2014/main" id="{EB203576-247F-594B-AA0C-9AC9BFBC6179}"/>
              </a:ext>
            </a:extLst>
          </p:cNvPr>
          <p:cNvSpPr>
            <a:spLocks noGrp="1"/>
          </p:cNvSpPr>
          <p:nvPr>
            <p:ph type="body" sz="quarter" idx="40" hasCustomPrompt="1"/>
          </p:nvPr>
        </p:nvSpPr>
        <p:spPr>
          <a:xfrm>
            <a:off x="5095225"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2" name="Text Placeholder 40">
            <a:extLst>
              <a:ext uri="{FF2B5EF4-FFF2-40B4-BE49-F238E27FC236}">
                <a16:creationId xmlns:a16="http://schemas.microsoft.com/office/drawing/2014/main" id="{8E39356C-DCED-4B4E-8FD2-8A44E096E63D}"/>
              </a:ext>
            </a:extLst>
          </p:cNvPr>
          <p:cNvSpPr>
            <a:spLocks noGrp="1"/>
          </p:cNvSpPr>
          <p:nvPr>
            <p:ph type="body" sz="quarter" idx="41"/>
          </p:nvPr>
        </p:nvSpPr>
        <p:spPr>
          <a:xfrm>
            <a:off x="5270597"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3" name="Rectangle 52">
            <a:extLst>
              <a:ext uri="{FF2B5EF4-FFF2-40B4-BE49-F238E27FC236}">
                <a16:creationId xmlns:a16="http://schemas.microsoft.com/office/drawing/2014/main" id="{F8CE159F-99AC-9C44-9745-594FE14FF5A8}"/>
              </a:ext>
            </a:extLst>
          </p:cNvPr>
          <p:cNvSpPr/>
          <p:nvPr userDrawn="1"/>
        </p:nvSpPr>
        <p:spPr>
          <a:xfrm>
            <a:off x="7400053"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4" name="Text Placeholder 35">
            <a:extLst>
              <a:ext uri="{FF2B5EF4-FFF2-40B4-BE49-F238E27FC236}">
                <a16:creationId xmlns:a16="http://schemas.microsoft.com/office/drawing/2014/main" id="{D5458CC4-909A-7E47-A02A-3B88B26C134B}"/>
              </a:ext>
            </a:extLst>
          </p:cNvPr>
          <p:cNvSpPr>
            <a:spLocks noGrp="1"/>
          </p:cNvSpPr>
          <p:nvPr>
            <p:ph type="body" sz="quarter" idx="42" hasCustomPrompt="1"/>
          </p:nvPr>
        </p:nvSpPr>
        <p:spPr>
          <a:xfrm>
            <a:off x="7399829"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5" name="Text Placeholder 40">
            <a:extLst>
              <a:ext uri="{FF2B5EF4-FFF2-40B4-BE49-F238E27FC236}">
                <a16:creationId xmlns:a16="http://schemas.microsoft.com/office/drawing/2014/main" id="{FB9277D2-3FED-8644-89D6-89DB3FDD59FF}"/>
              </a:ext>
            </a:extLst>
          </p:cNvPr>
          <p:cNvSpPr>
            <a:spLocks noGrp="1"/>
          </p:cNvSpPr>
          <p:nvPr>
            <p:ph type="body" sz="quarter" idx="43"/>
          </p:nvPr>
        </p:nvSpPr>
        <p:spPr>
          <a:xfrm>
            <a:off x="7575201"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5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24421300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Happy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descr="A picture containing person&#10;&#10;Description automatically generated">
            <a:extLst>
              <a:ext uri="{FF2B5EF4-FFF2-40B4-BE49-F238E27FC236}">
                <a16:creationId xmlns:a16="http://schemas.microsoft.com/office/drawing/2014/main" id="{DF4CF2F5-CBC9-4B30-8A19-72977C6D899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1"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91B41E1B-424C-48BE-8B6B-A734316ADF7D}"/>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6DD40145-7FA8-4783-B18F-01F8E09701E8}"/>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21EA6D3B-0498-4650-84DF-93F210D39C0A}"/>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15218246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6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61" name="Rectangle 60">
            <a:extLst>
              <a:ext uri="{FF2B5EF4-FFF2-40B4-BE49-F238E27FC236}">
                <a16:creationId xmlns:a16="http://schemas.microsoft.com/office/drawing/2014/main" id="{47A33D06-1EAE-4D42-BD90-9B587543E04E}"/>
              </a:ext>
            </a:extLst>
          </p:cNvPr>
          <p:cNvSpPr/>
          <p:nvPr userDrawn="1"/>
        </p:nvSpPr>
        <p:spPr>
          <a:xfrm>
            <a:off x="251813"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2" name="Text Placeholder 35">
            <a:extLst>
              <a:ext uri="{FF2B5EF4-FFF2-40B4-BE49-F238E27FC236}">
                <a16:creationId xmlns:a16="http://schemas.microsoft.com/office/drawing/2014/main" id="{E969B702-2D90-4A8C-818E-BE349557B45E}"/>
              </a:ext>
            </a:extLst>
          </p:cNvPr>
          <p:cNvSpPr>
            <a:spLocks noGrp="1"/>
          </p:cNvSpPr>
          <p:nvPr>
            <p:ph type="body" sz="quarter" idx="38" hasCustomPrompt="1"/>
          </p:nvPr>
        </p:nvSpPr>
        <p:spPr>
          <a:xfrm>
            <a:off x="258533" y="2028678"/>
            <a:ext cx="148825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4" name="Rectangle 63">
            <a:extLst>
              <a:ext uri="{FF2B5EF4-FFF2-40B4-BE49-F238E27FC236}">
                <a16:creationId xmlns:a16="http://schemas.microsoft.com/office/drawing/2014/main" id="{C443621B-4CB3-4E1A-A2AE-720BADB52B26}"/>
              </a:ext>
            </a:extLst>
          </p:cNvPr>
          <p:cNvSpPr/>
          <p:nvPr userDrawn="1"/>
        </p:nvSpPr>
        <p:spPr>
          <a:xfrm>
            <a:off x="221007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5" name="Text Placeholder 35">
            <a:extLst>
              <a:ext uri="{FF2B5EF4-FFF2-40B4-BE49-F238E27FC236}">
                <a16:creationId xmlns:a16="http://schemas.microsoft.com/office/drawing/2014/main" id="{ECECEC0B-3D8D-4F78-B65E-CEEB7F56B6FA}"/>
              </a:ext>
            </a:extLst>
          </p:cNvPr>
          <p:cNvSpPr>
            <a:spLocks noGrp="1"/>
          </p:cNvSpPr>
          <p:nvPr>
            <p:ph type="body" sz="quarter" idx="40" hasCustomPrompt="1"/>
          </p:nvPr>
        </p:nvSpPr>
        <p:spPr>
          <a:xfrm>
            <a:off x="2209149" y="2028678"/>
            <a:ext cx="151375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7" name="Rectangle 66">
            <a:extLst>
              <a:ext uri="{FF2B5EF4-FFF2-40B4-BE49-F238E27FC236}">
                <a16:creationId xmlns:a16="http://schemas.microsoft.com/office/drawing/2014/main" id="{AF4F4918-3112-40A9-B65C-A32B1F402BF2}"/>
              </a:ext>
            </a:extLst>
          </p:cNvPr>
          <p:cNvSpPr/>
          <p:nvPr userDrawn="1"/>
        </p:nvSpPr>
        <p:spPr>
          <a:xfrm>
            <a:off x="417857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8" name="Text Placeholder 35">
            <a:extLst>
              <a:ext uri="{FF2B5EF4-FFF2-40B4-BE49-F238E27FC236}">
                <a16:creationId xmlns:a16="http://schemas.microsoft.com/office/drawing/2014/main" id="{F28A5266-BA48-484D-9F91-46D04A781338}"/>
              </a:ext>
            </a:extLst>
          </p:cNvPr>
          <p:cNvSpPr>
            <a:spLocks noGrp="1"/>
          </p:cNvSpPr>
          <p:nvPr>
            <p:ph type="body" sz="quarter" idx="42" hasCustomPrompt="1"/>
          </p:nvPr>
        </p:nvSpPr>
        <p:spPr>
          <a:xfrm>
            <a:off x="4189999" y="2028678"/>
            <a:ext cx="1501398"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0" name="Rectangle 69">
            <a:extLst>
              <a:ext uri="{FF2B5EF4-FFF2-40B4-BE49-F238E27FC236}">
                <a16:creationId xmlns:a16="http://schemas.microsoft.com/office/drawing/2014/main" id="{306A64D0-8B54-443B-8C2A-AC90A4B3C517}"/>
              </a:ext>
            </a:extLst>
          </p:cNvPr>
          <p:cNvSpPr/>
          <p:nvPr userDrawn="1"/>
        </p:nvSpPr>
        <p:spPr>
          <a:xfrm>
            <a:off x="614706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1" name="Text Placeholder 35">
            <a:extLst>
              <a:ext uri="{FF2B5EF4-FFF2-40B4-BE49-F238E27FC236}">
                <a16:creationId xmlns:a16="http://schemas.microsoft.com/office/drawing/2014/main" id="{A614EA7C-BDC5-4FDE-913B-662DF1E39444}"/>
              </a:ext>
            </a:extLst>
          </p:cNvPr>
          <p:cNvSpPr>
            <a:spLocks noGrp="1"/>
          </p:cNvSpPr>
          <p:nvPr>
            <p:ph type="body" sz="quarter" idx="44" hasCustomPrompt="1"/>
          </p:nvPr>
        </p:nvSpPr>
        <p:spPr>
          <a:xfrm>
            <a:off x="6159578" y="2028678"/>
            <a:ext cx="150031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3" name="Rectangle 72">
            <a:extLst>
              <a:ext uri="{FF2B5EF4-FFF2-40B4-BE49-F238E27FC236}">
                <a16:creationId xmlns:a16="http://schemas.microsoft.com/office/drawing/2014/main" id="{318F6E51-B6BE-439C-8449-84F6671EE3E7}"/>
              </a:ext>
            </a:extLst>
          </p:cNvPr>
          <p:cNvSpPr/>
          <p:nvPr userDrawn="1"/>
        </p:nvSpPr>
        <p:spPr>
          <a:xfrm>
            <a:off x="811556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4" name="Text Placeholder 35">
            <a:extLst>
              <a:ext uri="{FF2B5EF4-FFF2-40B4-BE49-F238E27FC236}">
                <a16:creationId xmlns:a16="http://schemas.microsoft.com/office/drawing/2014/main" id="{C5104A83-B738-4265-8E9E-8E27AE76B037}"/>
              </a:ext>
            </a:extLst>
          </p:cNvPr>
          <p:cNvSpPr>
            <a:spLocks noGrp="1"/>
          </p:cNvSpPr>
          <p:nvPr>
            <p:ph type="body" sz="quarter" idx="46" hasCustomPrompt="1"/>
          </p:nvPr>
        </p:nvSpPr>
        <p:spPr>
          <a:xfrm>
            <a:off x="8124399" y="2028678"/>
            <a:ext cx="14958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6" name="Rectangle 75">
            <a:extLst>
              <a:ext uri="{FF2B5EF4-FFF2-40B4-BE49-F238E27FC236}">
                <a16:creationId xmlns:a16="http://schemas.microsoft.com/office/drawing/2014/main" id="{A8B57032-18CE-4064-AFE1-6A0302A02800}"/>
              </a:ext>
            </a:extLst>
          </p:cNvPr>
          <p:cNvSpPr/>
          <p:nvPr userDrawn="1"/>
        </p:nvSpPr>
        <p:spPr>
          <a:xfrm>
            <a:off x="10084057"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7" name="Text Placeholder 35">
            <a:extLst>
              <a:ext uri="{FF2B5EF4-FFF2-40B4-BE49-F238E27FC236}">
                <a16:creationId xmlns:a16="http://schemas.microsoft.com/office/drawing/2014/main" id="{2B345BC8-8D63-4AC6-9DFD-98B6CD13FE6C}"/>
              </a:ext>
            </a:extLst>
          </p:cNvPr>
          <p:cNvSpPr>
            <a:spLocks noGrp="1"/>
          </p:cNvSpPr>
          <p:nvPr>
            <p:ph type="body" sz="quarter" idx="48" hasCustomPrompt="1"/>
          </p:nvPr>
        </p:nvSpPr>
        <p:spPr>
          <a:xfrm>
            <a:off x="10093262" y="2028678"/>
            <a:ext cx="147961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8" name="Text Placeholder 40">
            <a:extLst>
              <a:ext uri="{FF2B5EF4-FFF2-40B4-BE49-F238E27FC236}">
                <a16:creationId xmlns:a16="http://schemas.microsoft.com/office/drawing/2014/main" id="{EB389AB7-4135-4E98-B896-F8A9D66152FE}"/>
              </a:ext>
            </a:extLst>
          </p:cNvPr>
          <p:cNvSpPr>
            <a:spLocks noGrp="1"/>
          </p:cNvSpPr>
          <p:nvPr>
            <p:ph type="body" sz="quarter" idx="49"/>
          </p:nvPr>
        </p:nvSpPr>
        <p:spPr>
          <a:xfrm>
            <a:off x="10177918" y="3239605"/>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3" name="Text Placeholder 40">
            <a:extLst>
              <a:ext uri="{FF2B5EF4-FFF2-40B4-BE49-F238E27FC236}">
                <a16:creationId xmlns:a16="http://schemas.microsoft.com/office/drawing/2014/main" id="{22C1654A-4A50-4D5A-BCC6-E1989853E81C}"/>
              </a:ext>
            </a:extLst>
          </p:cNvPr>
          <p:cNvSpPr>
            <a:spLocks noGrp="1"/>
          </p:cNvSpPr>
          <p:nvPr>
            <p:ph type="body" sz="quarter" idx="50"/>
          </p:nvPr>
        </p:nvSpPr>
        <p:spPr>
          <a:xfrm>
            <a:off x="317329" y="3237961"/>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4" name="Text Placeholder 40">
            <a:extLst>
              <a:ext uri="{FF2B5EF4-FFF2-40B4-BE49-F238E27FC236}">
                <a16:creationId xmlns:a16="http://schemas.microsoft.com/office/drawing/2014/main" id="{7590D40B-0A1D-4BEB-AA50-F47F1C789B23}"/>
              </a:ext>
            </a:extLst>
          </p:cNvPr>
          <p:cNvSpPr>
            <a:spLocks noGrp="1"/>
          </p:cNvSpPr>
          <p:nvPr>
            <p:ph type="body" sz="quarter" idx="51"/>
          </p:nvPr>
        </p:nvSpPr>
        <p:spPr>
          <a:xfrm>
            <a:off x="23137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5" name="Text Placeholder 40">
            <a:extLst>
              <a:ext uri="{FF2B5EF4-FFF2-40B4-BE49-F238E27FC236}">
                <a16:creationId xmlns:a16="http://schemas.microsoft.com/office/drawing/2014/main" id="{F1F8639E-9955-4B00-B3C5-85E416B54513}"/>
              </a:ext>
            </a:extLst>
          </p:cNvPr>
          <p:cNvSpPr>
            <a:spLocks noGrp="1"/>
          </p:cNvSpPr>
          <p:nvPr>
            <p:ph type="body" sz="quarter" idx="52"/>
          </p:nvPr>
        </p:nvSpPr>
        <p:spPr>
          <a:xfrm>
            <a:off x="42654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6" name="Text Placeholder 40">
            <a:extLst>
              <a:ext uri="{FF2B5EF4-FFF2-40B4-BE49-F238E27FC236}">
                <a16:creationId xmlns:a16="http://schemas.microsoft.com/office/drawing/2014/main" id="{CEC1CD5F-6F51-46AC-85FD-6359167DDC7A}"/>
              </a:ext>
            </a:extLst>
          </p:cNvPr>
          <p:cNvSpPr>
            <a:spLocks noGrp="1"/>
          </p:cNvSpPr>
          <p:nvPr>
            <p:ph type="body" sz="quarter" idx="53"/>
          </p:nvPr>
        </p:nvSpPr>
        <p:spPr>
          <a:xfrm>
            <a:off x="6245575"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7" name="Text Placeholder 40">
            <a:extLst>
              <a:ext uri="{FF2B5EF4-FFF2-40B4-BE49-F238E27FC236}">
                <a16:creationId xmlns:a16="http://schemas.microsoft.com/office/drawing/2014/main" id="{E901A7F8-4FB7-4FB9-A98C-AA7612964DA7}"/>
              </a:ext>
            </a:extLst>
          </p:cNvPr>
          <p:cNvSpPr>
            <a:spLocks noGrp="1"/>
          </p:cNvSpPr>
          <p:nvPr>
            <p:ph type="body" sz="quarter" idx="54"/>
          </p:nvPr>
        </p:nvSpPr>
        <p:spPr>
          <a:xfrm>
            <a:off x="8214070" y="3235303"/>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2073285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 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A68C3CF0-EDE0-41E7-90BE-6658867FA7F3}"/>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738254" y="1800000"/>
            <a:ext cx="7028953" cy="4418051"/>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8" name="Picture 7">
            <a:extLst>
              <a:ext uri="{FF2B5EF4-FFF2-40B4-BE49-F238E27FC236}">
                <a16:creationId xmlns:a16="http://schemas.microsoft.com/office/drawing/2014/main" id="{5464D7F2-2738-4DD6-9804-14CE014409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75F6F180-AB11-4527-B626-D97C6BF4248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
            <a:extLst>
              <a:ext uri="{FF2B5EF4-FFF2-40B4-BE49-F238E27FC236}">
                <a16:creationId xmlns:a16="http://schemas.microsoft.com/office/drawing/2014/main" id="{14C29F6F-C163-420D-97CC-76412D34F292}"/>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table slide</a:t>
            </a:r>
            <a:endParaRPr lang="en-GB" dirty="0"/>
          </a:p>
        </p:txBody>
      </p:sp>
      <p:sp>
        <p:nvSpPr>
          <p:cNvPr id="13" name="Text Placeholder 6">
            <a:extLst>
              <a:ext uri="{FF2B5EF4-FFF2-40B4-BE49-F238E27FC236}">
                <a16:creationId xmlns:a16="http://schemas.microsoft.com/office/drawing/2014/main" id="{F6ACB914-7340-43FB-913A-9487D1B68E6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643960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nly">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24544" y="1800000"/>
            <a:ext cx="11332027" cy="4408526"/>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F66F6E25-8280-4690-947C-D0F36D6637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994A7B83-05EC-4DDD-B5D8-A0AC5450300C}"/>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20CB62F3-143F-445A-BBC5-D8A464DEECD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able only slide</a:t>
            </a:r>
            <a:endParaRPr lang="en-GB" dirty="0"/>
          </a:p>
        </p:txBody>
      </p:sp>
      <p:sp>
        <p:nvSpPr>
          <p:cNvPr id="12" name="Text Placeholder 6">
            <a:extLst>
              <a:ext uri="{FF2B5EF4-FFF2-40B4-BE49-F238E27FC236}">
                <a16:creationId xmlns:a16="http://schemas.microsoft.com/office/drawing/2014/main" id="{FCA82E2A-12E8-4BEA-8484-E8142C99FC7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552292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Righ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738254" y="1800001"/>
            <a:ext cx="7028953" cy="4418051"/>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12" name="Picture 11">
            <a:extLst>
              <a:ext uri="{FF2B5EF4-FFF2-40B4-BE49-F238E27FC236}">
                <a16:creationId xmlns:a16="http://schemas.microsoft.com/office/drawing/2014/main" id="{2AE9E8AA-41E9-4B2E-A604-FACD5A5DB1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5342EA0E-BFF4-499A-9126-032D30FD013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49BF0055-222A-4114-952B-55BC3854367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chart slide</a:t>
            </a:r>
            <a:endParaRPr lang="en-GB" dirty="0"/>
          </a:p>
        </p:txBody>
      </p:sp>
      <p:sp>
        <p:nvSpPr>
          <p:cNvPr id="14" name="Text Placeholder 6">
            <a:extLst>
              <a:ext uri="{FF2B5EF4-FFF2-40B4-BE49-F238E27FC236}">
                <a16:creationId xmlns:a16="http://schemas.microsoft.com/office/drawing/2014/main" id="{C5F444F1-59D8-45DB-B52F-F7457A8D24BC}"/>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7CF7DD14-DF26-4216-8376-F84F3656B57F}"/>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497781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24544" y="1790476"/>
            <a:ext cx="11332027" cy="4457924"/>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3CCC0DAB-C431-46DC-AD96-7D3FACCA7B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63A7FF20-1F5C-4182-891F-E10BC4628A9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BB338666-5A7B-4746-ADDB-6279C03CD169}"/>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Chart only slide</a:t>
            </a:r>
            <a:endParaRPr lang="en-GB" dirty="0"/>
          </a:p>
        </p:txBody>
      </p:sp>
      <p:sp>
        <p:nvSpPr>
          <p:cNvPr id="12" name="Text Placeholder 6">
            <a:extLst>
              <a:ext uri="{FF2B5EF4-FFF2-40B4-BE49-F238E27FC236}">
                <a16:creationId xmlns:a16="http://schemas.microsoft.com/office/drawing/2014/main" id="{3372864B-BF9F-4A32-ADAB-9887FF6FA2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4208516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2 Charts">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8399832" y="1780950"/>
            <a:ext cx="3334502" cy="4427577"/>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11" name="Chart Placeholder 5">
            <a:extLst>
              <a:ext uri="{FF2B5EF4-FFF2-40B4-BE49-F238E27FC236}">
                <a16:creationId xmlns:a16="http://schemas.microsoft.com/office/drawing/2014/main" id="{BB7FD05B-D3A2-4351-B9E8-26178B6D6919}"/>
              </a:ext>
            </a:extLst>
          </p:cNvPr>
          <p:cNvSpPr>
            <a:spLocks noGrp="1"/>
          </p:cNvSpPr>
          <p:nvPr>
            <p:ph type="chart" sz="quarter" idx="15" hasCustomPrompt="1"/>
          </p:nvPr>
        </p:nvSpPr>
        <p:spPr>
          <a:xfrm>
            <a:off x="4737600" y="1780950"/>
            <a:ext cx="3334502" cy="4427576"/>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pic>
        <p:nvPicPr>
          <p:cNvPr id="9" name="Picture 8">
            <a:extLst>
              <a:ext uri="{FF2B5EF4-FFF2-40B4-BE49-F238E27FC236}">
                <a16:creationId xmlns:a16="http://schemas.microsoft.com/office/drawing/2014/main" id="{1A2D1E8A-8B08-4E7E-BEAB-D0300F0282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3" name="Rectangle 12">
            <a:extLst>
              <a:ext uri="{FF2B5EF4-FFF2-40B4-BE49-F238E27FC236}">
                <a16:creationId xmlns:a16="http://schemas.microsoft.com/office/drawing/2014/main" id="{1E1BA03E-9E28-433B-915E-D397B6A3002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itle 1">
            <a:extLst>
              <a:ext uri="{FF2B5EF4-FFF2-40B4-BE49-F238E27FC236}">
                <a16:creationId xmlns:a16="http://schemas.microsoft.com/office/drawing/2014/main" id="{06A3C8E2-E62F-4079-B4A4-A38F13C67D1B}"/>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2 charts</a:t>
            </a:r>
            <a:endParaRPr lang="en-GB" dirty="0"/>
          </a:p>
        </p:txBody>
      </p:sp>
      <p:sp>
        <p:nvSpPr>
          <p:cNvPr id="16" name="Text Placeholder 6">
            <a:extLst>
              <a:ext uri="{FF2B5EF4-FFF2-40B4-BE49-F238E27FC236}">
                <a16:creationId xmlns:a16="http://schemas.microsoft.com/office/drawing/2014/main" id="{FCC7F9D7-D427-45C7-B41A-2B63EE6282F9}"/>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DCD083F3-995F-41F2-82B2-B0F9BCCEC4AA}"/>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75967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ank You, Confetti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id="{A0B4B331-2378-4205-AC4C-587A25FEC3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0"/>
            <a:ext cx="12192000" cy="6858000"/>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5DD9B60B-12FD-4580-958C-7044D0BB2C3D}"/>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F640EA8B-7106-4310-A125-54F6FBBDE79D}"/>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363930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Door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tree, outdoor, plant, red&#10;&#10;Description automatically generated">
            <a:extLst>
              <a:ext uri="{FF2B5EF4-FFF2-40B4-BE49-F238E27FC236}">
                <a16:creationId xmlns:a16="http://schemas.microsoft.com/office/drawing/2014/main" id="{C0DE9EAE-E430-469B-B416-9C730AEAFCA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1280" y="0"/>
            <a:ext cx="12192000" cy="6858001"/>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1"/>
            <a:ext cx="12189572"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41" name="Title 3">
            <a:extLst>
              <a:ext uri="{FF2B5EF4-FFF2-40B4-BE49-F238E27FC236}">
                <a16:creationId xmlns:a16="http://schemas.microsoft.com/office/drawing/2014/main" id="{EF0CC505-3F1F-2343-8D30-97964582441F}"/>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40" name="Subtitle 2">
            <a:extLst>
              <a:ext uri="{FF2B5EF4-FFF2-40B4-BE49-F238E27FC236}">
                <a16:creationId xmlns:a16="http://schemas.microsoft.com/office/drawing/2014/main" id="{6A60678E-A454-354A-B4B9-EAB11B969674}"/>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906301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Happy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descr="A picture containing person&#10;&#10;Description automatically generated">
            <a:extLst>
              <a:ext uri="{FF2B5EF4-FFF2-40B4-BE49-F238E27FC236}">
                <a16:creationId xmlns:a16="http://schemas.microsoft.com/office/drawing/2014/main" id="{18E8CF89-1785-45E0-B5C5-1804C5221C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4A0BADAC-3F71-465F-990B-DE33520248B8}"/>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73A52FE2-3E92-46EC-B4B1-59FB53538935}"/>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930571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Mail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descr="A picture containing text&#10;&#10;Description automatically generated">
            <a:extLst>
              <a:ext uri="{FF2B5EF4-FFF2-40B4-BE49-F238E27FC236}">
                <a16:creationId xmlns:a16="http://schemas.microsoft.com/office/drawing/2014/main" id="{27CDC051-DCD2-450D-8722-CB1D5C7EA0F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2"/>
            <a:ext cx="12192000" cy="6858001"/>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AF15156B-339F-4057-9635-0293D184B0A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451288D4-A7CF-43CB-9D80-AC119722816C}"/>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562377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Mail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A picture containing text&#10;&#10;Description automatically generated">
            <a:extLst>
              <a:ext uri="{FF2B5EF4-FFF2-40B4-BE49-F238E27FC236}">
                <a16:creationId xmlns:a16="http://schemas.microsoft.com/office/drawing/2014/main" id="{59C135B9-BBD4-4C1A-B428-07CAA57DE8A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0E514967-D186-4B0B-BC63-DD91D30257A5}"/>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793E8C4D-CE7B-4E72-BDA9-39DB23396AB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D24C7D19-BB4F-4EF8-80D9-7BE2514FCCF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197176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Reading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98F557B6-D8AA-4FF7-B215-B664B5217AC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280" y="-9635"/>
            <a:ext cx="12192000" cy="687727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280" y="-9635"/>
            <a:ext cx="12192000" cy="6889406"/>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935FA2FF-A04D-4F21-BAE1-B48B5C97595E}"/>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5" name="Subtitle 2">
            <a:extLst>
              <a:ext uri="{FF2B5EF4-FFF2-40B4-BE49-F238E27FC236}">
                <a16:creationId xmlns:a16="http://schemas.microsoft.com/office/drawing/2014/main" id="{C3B047E4-D9EA-470D-8D3E-AAE75A1352BE}"/>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5333574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ank You,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3C0C179-A67C-074B-845F-F92CAD1E9FD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6" name="Rectangle 5">
            <a:extLst>
              <a:ext uri="{FF2B5EF4-FFF2-40B4-BE49-F238E27FC236}">
                <a16:creationId xmlns:a16="http://schemas.microsoft.com/office/drawing/2014/main" id="{DA1ADAC1-83FD-4AD7-BAEE-4952FE08A6B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7D1C7821-C59F-44D3-BDBC-CAFB7445C152}"/>
              </a:ext>
            </a:extLst>
          </p:cNvPr>
          <p:cNvPicPr>
            <a:picLocks noChangeAspect="1"/>
          </p:cNvPicPr>
          <p:nvPr userDrawn="1"/>
        </p:nvPicPr>
        <p:blipFill rotWithShape="1">
          <a:blip r:embed="rId4"/>
          <a:srcRect t="9162" r="17975"/>
          <a:stretch/>
        </p:blipFill>
        <p:spPr>
          <a:xfrm>
            <a:off x="9478657" y="0"/>
            <a:ext cx="2713343" cy="3574142"/>
          </a:xfrm>
          <a:prstGeom prst="rect">
            <a:avLst/>
          </a:prstGeom>
        </p:spPr>
      </p:pic>
      <p:sp>
        <p:nvSpPr>
          <p:cNvPr id="13" name="Title 3">
            <a:extLst>
              <a:ext uri="{FF2B5EF4-FFF2-40B4-BE49-F238E27FC236}">
                <a16:creationId xmlns:a16="http://schemas.microsoft.com/office/drawing/2014/main" id="{B3E62B0D-1400-4128-B8D6-288C00B07D0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tx1"/>
                </a:solidFill>
              </a:defRPr>
            </a:lvl1pPr>
          </a:lstStyle>
          <a:p>
            <a:r>
              <a:rPr lang="en-GB" dirty="0"/>
              <a:t>CLICK TO EDIT E.G. “THANK YOU”</a:t>
            </a:r>
            <a:endParaRPr lang="en-US" dirty="0"/>
          </a:p>
        </p:txBody>
      </p:sp>
      <p:sp>
        <p:nvSpPr>
          <p:cNvPr id="14" name="Subtitle 2">
            <a:extLst>
              <a:ext uri="{FF2B5EF4-FFF2-40B4-BE49-F238E27FC236}">
                <a16:creationId xmlns:a16="http://schemas.microsoft.com/office/drawing/2014/main" id="{A89F1F6E-78B6-459A-866C-3165223B96A9}"/>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30545946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Reading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a:extLst>
              <a:ext uri="{FF2B5EF4-FFF2-40B4-BE49-F238E27FC236}">
                <a16:creationId xmlns:a16="http://schemas.microsoft.com/office/drawing/2014/main" id="{F01F053B-EA68-4703-907E-7E15F96856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0" y="-9635"/>
            <a:ext cx="12205313" cy="687727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t="961" r="961"/>
          <a:stretch/>
        </p:blipFill>
        <p:spPr>
          <a:xfrm>
            <a:off x="0" y="-9635"/>
            <a:ext cx="12205313" cy="6877271"/>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ED3F3304-66DE-4F29-90EB-5BC19F5774C0}"/>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11EA8EB2-3081-4B7E-9F1C-654550BC9A44}"/>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A5E2838D-A8DD-4BF1-868D-0F660F5599C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562811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DF81EA6-D1F1-D543-82CC-B020DB67B186}"/>
              </a:ext>
            </a:extLst>
          </p:cNvPr>
          <p:cNvPicPr>
            <a:picLocks noChangeAspect="1"/>
          </p:cNvPicPr>
          <p:nvPr userDrawn="1"/>
        </p:nvPicPr>
        <p:blipFill rotWithShape="1">
          <a:blip r:embed="rId3"/>
          <a:srcRect r="26448" b="2359"/>
          <a:stretch/>
        </p:blipFill>
        <p:spPr>
          <a:xfrm>
            <a:off x="10196287" y="3706793"/>
            <a:ext cx="1995713" cy="3151207"/>
          </a:xfrm>
          <a:prstGeom prst="rect">
            <a:avLst/>
          </a:prstGeom>
        </p:spPr>
      </p:pic>
      <p:pic>
        <p:nvPicPr>
          <p:cNvPr id="8" name="Picture 7">
            <a:extLst>
              <a:ext uri="{FF2B5EF4-FFF2-40B4-BE49-F238E27FC236}">
                <a16:creationId xmlns:a16="http://schemas.microsoft.com/office/drawing/2014/main" id="{23C68492-8D5F-6346-B766-88FD9D4D6D9A}"/>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9" name="Rectangle 8">
            <a:extLst>
              <a:ext uri="{FF2B5EF4-FFF2-40B4-BE49-F238E27FC236}">
                <a16:creationId xmlns:a16="http://schemas.microsoft.com/office/drawing/2014/main" id="{88FC23B3-8C0E-42CB-A4CE-D294A830124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3">
            <a:extLst>
              <a:ext uri="{FF2B5EF4-FFF2-40B4-BE49-F238E27FC236}">
                <a16:creationId xmlns:a16="http://schemas.microsoft.com/office/drawing/2014/main" id="{69E99D77-1116-41BB-93B3-070995C76B59}"/>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tx1"/>
                </a:solidFill>
              </a:defRPr>
            </a:lvl1pPr>
          </a:lstStyle>
          <a:p>
            <a:r>
              <a:rPr lang="en-GB" dirty="0"/>
              <a:t>CLICK TO EDIT TITLE SLIDE COPY</a:t>
            </a:r>
            <a:endParaRPr lang="en-US" dirty="0"/>
          </a:p>
        </p:txBody>
      </p:sp>
      <p:sp>
        <p:nvSpPr>
          <p:cNvPr id="11" name="Subtitle 2">
            <a:extLst>
              <a:ext uri="{FF2B5EF4-FFF2-40B4-BE49-F238E27FC236}">
                <a16:creationId xmlns:a16="http://schemas.microsoft.com/office/drawing/2014/main" id="{2468FDA3-64DC-41FF-BF14-8549BB3B8F8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2" name="Text Placeholder 37">
            <a:extLst>
              <a:ext uri="{FF2B5EF4-FFF2-40B4-BE49-F238E27FC236}">
                <a16:creationId xmlns:a16="http://schemas.microsoft.com/office/drawing/2014/main" id="{A6F0E28C-6B10-4698-95C3-EE209BF4A5FC}"/>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tx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0951161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wav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4" name="Content Placeholder 2">
            <a:extLst>
              <a:ext uri="{FF2B5EF4-FFF2-40B4-BE49-F238E27FC236}">
                <a16:creationId xmlns:a16="http://schemas.microsoft.com/office/drawing/2014/main" id="{63FA559B-338C-486F-B850-4917C9ABA26A}"/>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a:extLst>
              <a:ext uri="{FF2B5EF4-FFF2-40B4-BE49-F238E27FC236}">
                <a16:creationId xmlns:a16="http://schemas.microsoft.com/office/drawing/2014/main" id="{28CF5E35-E11F-4B1A-8551-321DFB3F3A46}"/>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76083303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ouble Header, Wave">
    <p:bg>
      <p:bgRef idx="1001">
        <a:schemeClr val="bg1"/>
      </p:bgRef>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748C296-1AF5-F847-854D-2C0B9016D0CC}"/>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Wave</a:t>
            </a:r>
            <a:endParaRPr lang="en-GB" dirty="0"/>
          </a:p>
        </p:txBody>
      </p:sp>
      <p:sp>
        <p:nvSpPr>
          <p:cNvPr id="12" name="Text Placeholder 6">
            <a:extLst>
              <a:ext uri="{FF2B5EF4-FFF2-40B4-BE49-F238E27FC236}">
                <a16:creationId xmlns:a16="http://schemas.microsoft.com/office/drawing/2014/main" id="{9ABC905B-966A-324C-BD60-0E81083AC33D}"/>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037BF37D-2880-4F22-BF1C-E12327041CEE}"/>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0" name="Picture 9">
            <a:extLst>
              <a:ext uri="{FF2B5EF4-FFF2-40B4-BE49-F238E27FC236}">
                <a16:creationId xmlns:a16="http://schemas.microsoft.com/office/drawing/2014/main" id="{347351B7-E485-44DD-B302-44521BBD79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4FCE2DE8-03B2-4D41-8C78-EBE9436DA30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a:extLst>
              <a:ext uri="{FF2B5EF4-FFF2-40B4-BE49-F238E27FC236}">
                <a16:creationId xmlns:a16="http://schemas.microsoft.com/office/drawing/2014/main" id="{067E1D56-EE88-4285-A53B-0932B967C19E}"/>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17" name="Content Placeholder 2">
            <a:extLst>
              <a:ext uri="{FF2B5EF4-FFF2-40B4-BE49-F238E27FC236}">
                <a16:creationId xmlns:a16="http://schemas.microsoft.com/office/drawing/2014/main" id="{4B2494E1-75C6-413F-8FD3-FCD1249C99A9}"/>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2924761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ngle Header, Circle">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96C8B7C-F5E9-4230-9AB4-F7884F6DCEFF}"/>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0" name="Picture 9">
            <a:extLst>
              <a:ext uri="{FF2B5EF4-FFF2-40B4-BE49-F238E27FC236}">
                <a16:creationId xmlns:a16="http://schemas.microsoft.com/office/drawing/2014/main" id="{F75F41FD-917A-4663-A5C6-237A858D44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pic>
        <p:nvPicPr>
          <p:cNvPr id="8" name="Picture 7">
            <a:extLst>
              <a:ext uri="{FF2B5EF4-FFF2-40B4-BE49-F238E27FC236}">
                <a16:creationId xmlns:a16="http://schemas.microsoft.com/office/drawing/2014/main" id="{7B66D97F-2F14-49EB-AF7D-A8A210E06063}"/>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Rectangle 8">
            <a:extLst>
              <a:ext uri="{FF2B5EF4-FFF2-40B4-BE49-F238E27FC236}">
                <a16:creationId xmlns:a16="http://schemas.microsoft.com/office/drawing/2014/main" id="{5549C332-7D05-4B2C-B10B-3EC9E0486C4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8B5867CB-5182-4D59-BCAA-77E71C86710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circle</a:t>
            </a:r>
            <a:endParaRPr lang="en-GB" dirty="0"/>
          </a:p>
        </p:txBody>
      </p:sp>
      <p:sp>
        <p:nvSpPr>
          <p:cNvPr id="12" name="Text Placeholder 6">
            <a:extLst>
              <a:ext uri="{FF2B5EF4-FFF2-40B4-BE49-F238E27FC236}">
                <a16:creationId xmlns:a16="http://schemas.microsoft.com/office/drawing/2014/main" id="{DE48DEFD-E9D3-4089-B606-B7A6D6FCBF16}"/>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4" name="Content Placeholder 2">
            <a:extLst>
              <a:ext uri="{FF2B5EF4-FFF2-40B4-BE49-F238E27FC236}">
                <a16:creationId xmlns:a16="http://schemas.microsoft.com/office/drawing/2014/main" id="{03619165-8026-480F-BCFB-2C0A433F01C6}"/>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081609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E1AB9D-4722-4847-9D17-393008E7BCEF}"/>
              </a:ext>
            </a:extLst>
          </p:cNvPr>
          <p:cNvSpPr>
            <a:spLocks noGrp="1"/>
          </p:cNvSpPr>
          <p:nvPr>
            <p:ph type="sldNum" sz="quarter" idx="4"/>
          </p:nvPr>
        </p:nvSpPr>
        <p:spPr>
          <a:xfrm>
            <a:off x="9182100" y="626110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87542D-5C6B-4EB3-96EB-9B37C3D5D2F8}" type="slidenum">
              <a:rPr lang="en-GB" smtClean="0"/>
              <a:t>‹#›</a:t>
            </a:fld>
            <a:endParaRPr lang="en-GB" dirty="0"/>
          </a:p>
        </p:txBody>
      </p:sp>
      <p:sp>
        <p:nvSpPr>
          <p:cNvPr id="2" name="MSIPCMContentMarking" descr="{&quot;HashCode&quot;:-685326706,&quot;Placement&quot;:&quot;Footer&quot;,&quot;Top&quot;:519.343,&quot;Left&quot;:0.0,&quot;SlideWidth&quot;:960,&quot;SlideHeight&quot;:540}">
            <a:extLst>
              <a:ext uri="{FF2B5EF4-FFF2-40B4-BE49-F238E27FC236}">
                <a16:creationId xmlns:a16="http://schemas.microsoft.com/office/drawing/2014/main" id="{9BB56318-D0CF-4942-BC59-306D1F6A9197}"/>
              </a:ext>
            </a:extLst>
          </p:cNvPr>
          <p:cNvSpPr txBox="1"/>
          <p:nvPr userDrawn="1"/>
        </p:nvSpPr>
        <p:spPr>
          <a:xfrm>
            <a:off x="0" y="6595656"/>
            <a:ext cx="1631108" cy="262344"/>
          </a:xfrm>
          <a:prstGeom prst="rect">
            <a:avLst/>
          </a:prstGeom>
          <a:noFill/>
        </p:spPr>
        <p:txBody>
          <a:bodyPr vert="horz" wrap="square" lIns="0" tIns="0" rIns="0" bIns="0" rtlCol="0" anchor="ctr" anchorCtr="1">
            <a:spAutoFit/>
          </a:bodyPr>
          <a:lstStyle/>
          <a:p>
            <a:pPr algn="l">
              <a:spcBef>
                <a:spcPts val="0"/>
              </a:spcBef>
              <a:spcAft>
                <a:spcPts val="0"/>
              </a:spcAft>
            </a:pPr>
            <a:r>
              <a:rPr lang="en-GB" sz="1000" dirty="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3013337613"/>
      </p:ext>
    </p:extLst>
  </p:cSld>
  <p:clrMap bg1="lt1" tx1="dk1" bg2="lt2" tx2="dk2" accent1="accent1" accent2="accent2" accent3="accent3" accent4="accent4" accent5="accent5" accent6="accent6" hlink="hlink" folHlink="folHlink"/>
  <p:sldLayoutIdLst>
    <p:sldLayoutId id="2147483752" r:id="rId1"/>
    <p:sldLayoutId id="2147483685" r:id="rId2"/>
    <p:sldLayoutId id="2147483753" r:id="rId3"/>
    <p:sldLayoutId id="2147483754" r:id="rId4"/>
    <p:sldLayoutId id="2147483755" r:id="rId5"/>
    <p:sldLayoutId id="2147483738" r:id="rId6"/>
    <p:sldLayoutId id="2147483740" r:id="rId7"/>
    <p:sldLayoutId id="2147483742" r:id="rId8"/>
    <p:sldLayoutId id="2147483723" r:id="rId9"/>
    <p:sldLayoutId id="2147483741" r:id="rId10"/>
    <p:sldLayoutId id="2147483767" r:id="rId11"/>
    <p:sldLayoutId id="2147483691" r:id="rId12"/>
    <p:sldLayoutId id="2147483760" r:id="rId13"/>
    <p:sldLayoutId id="2147483761" r:id="rId14"/>
    <p:sldLayoutId id="2147483734" r:id="rId15"/>
    <p:sldLayoutId id="2147483762" r:id="rId16"/>
    <p:sldLayoutId id="2147483739" r:id="rId17"/>
    <p:sldLayoutId id="2147483763" r:id="rId18"/>
    <p:sldLayoutId id="2147483764" r:id="rId19"/>
    <p:sldLayoutId id="2147483765" r:id="rId20"/>
    <p:sldLayoutId id="2147483766" r:id="rId21"/>
    <p:sldLayoutId id="2147483722" r:id="rId22"/>
    <p:sldLayoutId id="2147483724" r:id="rId23"/>
    <p:sldLayoutId id="2147483725" r:id="rId24"/>
    <p:sldLayoutId id="2147483726" r:id="rId25"/>
    <p:sldLayoutId id="2147483721" r:id="rId26"/>
    <p:sldLayoutId id="2147483744" r:id="rId27"/>
    <p:sldLayoutId id="2147483745" r:id="rId28"/>
    <p:sldLayoutId id="2147483746" r:id="rId29"/>
    <p:sldLayoutId id="2147483768" r:id="rId30"/>
    <p:sldLayoutId id="2147483711" r:id="rId31"/>
    <p:sldLayoutId id="2147483712" r:id="rId32"/>
    <p:sldLayoutId id="2147483713" r:id="rId33"/>
    <p:sldLayoutId id="2147483714" r:id="rId34"/>
    <p:sldLayoutId id="2147483715" r:id="rId35"/>
    <p:sldLayoutId id="2147483756" r:id="rId36"/>
    <p:sldLayoutId id="2147483733" r:id="rId37"/>
    <p:sldLayoutId id="2147483757" r:id="rId38"/>
    <p:sldLayoutId id="2147483758" r:id="rId39"/>
    <p:sldLayoutId id="2147483759" r:id="rId40"/>
    <p:sldLayoutId id="2147483737" r:id="rId4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9.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hyperlink" Target="http://www.royalmailwholesale.com/"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19.sv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21.svg"/><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slideLayout" Target="../slideLayouts/slideLayout25.xml"/><Relationship Id="rId1" Type="http://schemas.openxmlformats.org/officeDocument/2006/relationships/tags" Target="../tags/tag15.xml"/><Relationship Id="rId6" Type="http://schemas.openxmlformats.org/officeDocument/2006/relationships/chart" Target="../charts/chart1.xml"/><Relationship Id="rId5" Type="http://schemas.openxmlformats.org/officeDocument/2006/relationships/image" Target="../media/image24.svg"/><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2.xml"/><Relationship Id="rId13" Type="http://schemas.openxmlformats.org/officeDocument/2006/relationships/image" Target="../media/image30.png"/><Relationship Id="rId3" Type="http://schemas.openxmlformats.org/officeDocument/2006/relationships/tags" Target="../tags/tag18.xml"/><Relationship Id="rId7" Type="http://schemas.openxmlformats.org/officeDocument/2006/relationships/slideLayout" Target="../slideLayouts/slideLayout9.xml"/><Relationship Id="rId12" Type="http://schemas.openxmlformats.org/officeDocument/2006/relationships/image" Target="../media/image29.sv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28.png"/><Relationship Id="rId5" Type="http://schemas.openxmlformats.org/officeDocument/2006/relationships/tags" Target="../tags/tag20.xml"/><Relationship Id="rId15" Type="http://schemas.openxmlformats.org/officeDocument/2006/relationships/hyperlink" Target="https://www.royalmailwholesale.com/publishing-volume-commitment" TargetMode="External"/><Relationship Id="rId10" Type="http://schemas.openxmlformats.org/officeDocument/2006/relationships/image" Target="../media/image27.svg"/><Relationship Id="rId4" Type="http://schemas.openxmlformats.org/officeDocument/2006/relationships/tags" Target="../tags/tag19.xml"/><Relationship Id="rId9" Type="http://schemas.openxmlformats.org/officeDocument/2006/relationships/image" Target="../media/image26.png"/><Relationship Id="rId14" Type="http://schemas.openxmlformats.org/officeDocument/2006/relationships/image" Target="../media/image31.svg"/></Relationships>
</file>

<file path=ppt/slides/_rels/slide9.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slideLayout" Target="../slideLayouts/slideLayout7.xml"/><Relationship Id="rId2" Type="http://schemas.openxmlformats.org/officeDocument/2006/relationships/tags" Target="../tags/tag23.xml"/><Relationship Id="rId16" Type="http://schemas.openxmlformats.org/officeDocument/2006/relationships/tags" Target="../tags/tag37.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tags" Target="../tags/tag36.xml"/><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F88C49-0DAD-4BBE-826D-05A86D12414E}"/>
              </a:ext>
            </a:extLst>
          </p:cNvPr>
          <p:cNvSpPr>
            <a:spLocks noGrp="1"/>
          </p:cNvSpPr>
          <p:nvPr>
            <p:ph type="title"/>
          </p:nvPr>
        </p:nvSpPr>
        <p:spPr/>
        <p:txBody>
          <a:bodyPr lIns="91440" tIns="45720" rIns="91440" bIns="45720" anchor="t"/>
          <a:lstStyle/>
          <a:p>
            <a:r>
              <a:rPr lang="en-GB" cap="all" dirty="0"/>
              <a:t>Publishing mail </a:t>
            </a:r>
            <a:br>
              <a:rPr lang="en-GB" cap="all" dirty="0"/>
            </a:br>
            <a:r>
              <a:rPr lang="en-GB" cap="all" dirty="0"/>
              <a:t>Volume commitment</a:t>
            </a:r>
            <a:endParaRPr lang="en-US" cap="all" dirty="0"/>
          </a:p>
        </p:txBody>
      </p:sp>
      <p:sp>
        <p:nvSpPr>
          <p:cNvPr id="3" name="Subtitle 2">
            <a:extLst>
              <a:ext uri="{FF2B5EF4-FFF2-40B4-BE49-F238E27FC236}">
                <a16:creationId xmlns:a16="http://schemas.microsoft.com/office/drawing/2014/main" id="{4EE9565C-F586-4D9D-AFE0-0534F97A23DF}"/>
              </a:ext>
            </a:extLst>
          </p:cNvPr>
          <p:cNvSpPr>
            <a:spLocks noGrp="1"/>
          </p:cNvSpPr>
          <p:nvPr>
            <p:ph type="subTitle" idx="1"/>
          </p:nvPr>
        </p:nvSpPr>
        <p:spPr/>
        <p:txBody>
          <a:bodyPr lIns="0" tIns="0" rIns="0" bIns="0" anchor="t">
            <a:noAutofit/>
          </a:bodyPr>
          <a:lstStyle/>
          <a:p>
            <a:r>
              <a:rPr lang="en-US" dirty="0"/>
              <a:t>Wholesale</a:t>
            </a:r>
          </a:p>
        </p:txBody>
      </p:sp>
      <p:sp>
        <p:nvSpPr>
          <p:cNvPr id="4" name="Text Placeholder 3">
            <a:extLst>
              <a:ext uri="{FF2B5EF4-FFF2-40B4-BE49-F238E27FC236}">
                <a16:creationId xmlns:a16="http://schemas.microsoft.com/office/drawing/2014/main" id="{08E9F119-D3A0-4762-9612-883063643930}"/>
              </a:ext>
            </a:extLst>
          </p:cNvPr>
          <p:cNvSpPr>
            <a:spLocks noGrp="1"/>
          </p:cNvSpPr>
          <p:nvPr>
            <p:ph type="body" sz="quarter" idx="10"/>
          </p:nvPr>
        </p:nvSpPr>
        <p:spPr/>
        <p:txBody>
          <a:bodyPr lIns="0" tIns="0" rIns="0" bIns="0" anchor="t">
            <a:noAutofit/>
          </a:bodyPr>
          <a:lstStyle/>
          <a:p>
            <a:r>
              <a:rPr lang="en-US" dirty="0">
                <a:latin typeface="Calibri"/>
                <a:cs typeface="Calibri"/>
              </a:rPr>
              <a:t>January 2024</a:t>
            </a:r>
          </a:p>
        </p:txBody>
      </p:sp>
    </p:spTree>
    <p:extLst>
      <p:ext uri="{BB962C8B-B14F-4D97-AF65-F5344CB8AC3E}">
        <p14:creationId xmlns:p14="http://schemas.microsoft.com/office/powerpoint/2010/main" val="9800034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C21B6-28EA-4B36-9809-D19659089B1F}"/>
              </a:ext>
            </a:extLst>
          </p:cNvPr>
          <p:cNvSpPr>
            <a:spLocks noGrp="1"/>
          </p:cNvSpPr>
          <p:nvPr>
            <p:ph type="title"/>
          </p:nvPr>
        </p:nvSpPr>
        <p:spPr/>
        <p:txBody>
          <a:bodyPr/>
          <a:lstStyle/>
          <a:p>
            <a:r>
              <a:rPr lang="en-GB" dirty="0"/>
              <a:t>THANK YOU</a:t>
            </a:r>
          </a:p>
        </p:txBody>
      </p:sp>
      <p:sp>
        <p:nvSpPr>
          <p:cNvPr id="3" name="Subtitle 2">
            <a:extLst>
              <a:ext uri="{FF2B5EF4-FFF2-40B4-BE49-F238E27FC236}">
                <a16:creationId xmlns:a16="http://schemas.microsoft.com/office/drawing/2014/main" id="{BAF0189E-2BBB-410D-9AD5-0D8B0304F7F5}"/>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6612247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F7187D4-D4D7-47E6-965E-D830B1D2460D}"/>
              </a:ext>
            </a:extLst>
          </p:cNvPr>
          <p:cNvSpPr>
            <a:spLocks noGrp="1"/>
          </p:cNvSpPr>
          <p:nvPr>
            <p:ph type="sldNum" sz="quarter" idx="15"/>
          </p:nvPr>
        </p:nvSpPr>
        <p:spPr/>
        <p:txBody>
          <a:bodyPr/>
          <a:lstStyle/>
          <a:p>
            <a:fld id="{3787542D-5C6B-4EB3-96EB-9B37C3D5D2F8}" type="slidenum">
              <a:rPr lang="en-GB" smtClean="0"/>
              <a:t>2</a:t>
            </a:fld>
            <a:endParaRPr lang="en-GB" dirty="0"/>
          </a:p>
        </p:txBody>
      </p:sp>
      <p:sp>
        <p:nvSpPr>
          <p:cNvPr id="6" name="Title 5">
            <a:extLst>
              <a:ext uri="{FF2B5EF4-FFF2-40B4-BE49-F238E27FC236}">
                <a16:creationId xmlns:a16="http://schemas.microsoft.com/office/drawing/2014/main" id="{2C2A5B5E-E0DE-415B-A6F4-CFEEF738850F}"/>
              </a:ext>
            </a:extLst>
          </p:cNvPr>
          <p:cNvSpPr>
            <a:spLocks noGrp="1"/>
          </p:cNvSpPr>
          <p:nvPr>
            <p:ph type="title"/>
          </p:nvPr>
        </p:nvSpPr>
        <p:spPr/>
        <p:txBody>
          <a:bodyPr/>
          <a:lstStyle/>
          <a:p>
            <a:r>
              <a:rPr lang="en-GB" dirty="0"/>
              <a:t>PUBLISHING mail</a:t>
            </a:r>
          </a:p>
        </p:txBody>
      </p:sp>
      <p:sp>
        <p:nvSpPr>
          <p:cNvPr id="7" name="Text Placeholder 6">
            <a:extLst>
              <a:ext uri="{FF2B5EF4-FFF2-40B4-BE49-F238E27FC236}">
                <a16:creationId xmlns:a16="http://schemas.microsoft.com/office/drawing/2014/main" id="{0D3E2F29-E178-45FC-975E-4D4DEC369B99}"/>
              </a:ext>
            </a:extLst>
          </p:cNvPr>
          <p:cNvSpPr>
            <a:spLocks noGrp="1"/>
          </p:cNvSpPr>
          <p:nvPr>
            <p:ph type="body" sz="quarter" idx="11"/>
          </p:nvPr>
        </p:nvSpPr>
        <p:spPr/>
        <p:txBody>
          <a:bodyPr/>
          <a:lstStyle/>
          <a:p>
            <a:r>
              <a:rPr lang="en-GB" dirty="0"/>
              <a:t>Volume Commitment</a:t>
            </a:r>
          </a:p>
        </p:txBody>
      </p:sp>
      <p:sp>
        <p:nvSpPr>
          <p:cNvPr id="10" name="Circle: Hollow 9">
            <a:extLst>
              <a:ext uri="{FF2B5EF4-FFF2-40B4-BE49-F238E27FC236}">
                <a16:creationId xmlns:a16="http://schemas.microsoft.com/office/drawing/2014/main" id="{A186F85E-9BDC-4E28-AE46-0CBEE7AC0FAC}"/>
              </a:ext>
            </a:extLst>
          </p:cNvPr>
          <p:cNvSpPr/>
          <p:nvPr/>
        </p:nvSpPr>
        <p:spPr>
          <a:xfrm>
            <a:off x="1126724" y="2079037"/>
            <a:ext cx="2098040" cy="2098040"/>
          </a:xfrm>
          <a:prstGeom prst="donut">
            <a:avLst>
              <a:gd name="adj" fmla="val 80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Circle: Hollow 10">
            <a:extLst>
              <a:ext uri="{FF2B5EF4-FFF2-40B4-BE49-F238E27FC236}">
                <a16:creationId xmlns:a16="http://schemas.microsoft.com/office/drawing/2014/main" id="{E40DF4C9-1C02-4D83-B456-B9F8C51BD9A1}"/>
              </a:ext>
            </a:extLst>
          </p:cNvPr>
          <p:cNvSpPr/>
          <p:nvPr/>
        </p:nvSpPr>
        <p:spPr>
          <a:xfrm>
            <a:off x="3762477" y="2079037"/>
            <a:ext cx="2098040" cy="2098040"/>
          </a:xfrm>
          <a:prstGeom prst="donut">
            <a:avLst>
              <a:gd name="adj" fmla="val 78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Circle: Hollow 11">
            <a:extLst>
              <a:ext uri="{FF2B5EF4-FFF2-40B4-BE49-F238E27FC236}">
                <a16:creationId xmlns:a16="http://schemas.microsoft.com/office/drawing/2014/main" id="{B2B8199D-66B6-4531-A1F2-67B46C68E967}"/>
              </a:ext>
            </a:extLst>
          </p:cNvPr>
          <p:cNvSpPr/>
          <p:nvPr/>
        </p:nvSpPr>
        <p:spPr>
          <a:xfrm>
            <a:off x="6474460" y="2079037"/>
            <a:ext cx="2098040" cy="2098040"/>
          </a:xfrm>
          <a:prstGeom prst="donut">
            <a:avLst>
              <a:gd name="adj" fmla="val 880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Circle: Hollow 12">
            <a:extLst>
              <a:ext uri="{FF2B5EF4-FFF2-40B4-BE49-F238E27FC236}">
                <a16:creationId xmlns:a16="http://schemas.microsoft.com/office/drawing/2014/main" id="{15D6123C-4457-41A3-A967-C9EBF80D0119}"/>
              </a:ext>
            </a:extLst>
          </p:cNvPr>
          <p:cNvSpPr/>
          <p:nvPr/>
        </p:nvSpPr>
        <p:spPr>
          <a:xfrm>
            <a:off x="8990722" y="2079037"/>
            <a:ext cx="2098040" cy="2098040"/>
          </a:xfrm>
          <a:prstGeom prst="donut">
            <a:avLst>
              <a:gd name="adj" fmla="val 933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7192F2EE-E779-4D84-8F57-0277042E6E7E}"/>
              </a:ext>
            </a:extLst>
          </p:cNvPr>
          <p:cNvSpPr/>
          <p:nvPr/>
        </p:nvSpPr>
        <p:spPr>
          <a:xfrm>
            <a:off x="-1" y="4020072"/>
            <a:ext cx="3399367" cy="1503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8A399133-18D5-4940-9C5E-C29710CEED7C}"/>
              </a:ext>
            </a:extLst>
          </p:cNvPr>
          <p:cNvSpPr/>
          <p:nvPr/>
        </p:nvSpPr>
        <p:spPr>
          <a:xfrm>
            <a:off x="8784166" y="4020072"/>
            <a:ext cx="3399367" cy="1503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0AF72EEB-7821-4F6E-828A-74A07DC7AE63}"/>
              </a:ext>
            </a:extLst>
          </p:cNvPr>
          <p:cNvSpPr/>
          <p:nvPr/>
        </p:nvSpPr>
        <p:spPr>
          <a:xfrm>
            <a:off x="3399367" y="4020072"/>
            <a:ext cx="2696634" cy="1503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35C559F1-ECF7-4CE5-9E80-8EE9DB5291D7}"/>
              </a:ext>
            </a:extLst>
          </p:cNvPr>
          <p:cNvSpPr/>
          <p:nvPr/>
        </p:nvSpPr>
        <p:spPr>
          <a:xfrm>
            <a:off x="6096000" y="4020072"/>
            <a:ext cx="2696634" cy="1503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20" name="Graphic 19" descr="Unlock">
            <a:extLst>
              <a:ext uri="{FF2B5EF4-FFF2-40B4-BE49-F238E27FC236}">
                <a16:creationId xmlns:a16="http://schemas.microsoft.com/office/drawing/2014/main" id="{836BA303-4F18-4144-B4EF-5ACF4F585F8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066280" y="2640021"/>
            <a:ext cx="914400" cy="914400"/>
          </a:xfrm>
          <a:prstGeom prst="rect">
            <a:avLst/>
          </a:prstGeom>
        </p:spPr>
      </p:pic>
      <p:sp>
        <p:nvSpPr>
          <p:cNvPr id="21" name="TextBox 20">
            <a:extLst>
              <a:ext uri="{FF2B5EF4-FFF2-40B4-BE49-F238E27FC236}">
                <a16:creationId xmlns:a16="http://schemas.microsoft.com/office/drawing/2014/main" id="{6EE58FE7-5945-4C6A-8799-555003347F16}"/>
              </a:ext>
            </a:extLst>
          </p:cNvPr>
          <p:cNvSpPr txBox="1"/>
          <p:nvPr/>
        </p:nvSpPr>
        <p:spPr>
          <a:xfrm>
            <a:off x="1059140" y="4517699"/>
            <a:ext cx="2268000" cy="923330"/>
          </a:xfrm>
          <a:prstGeom prst="rect">
            <a:avLst/>
          </a:prstGeom>
          <a:noFill/>
        </p:spPr>
        <p:txBody>
          <a:bodyPr wrap="square" rtlCol="0">
            <a:spAutoFit/>
          </a:bodyPr>
          <a:lstStyle/>
          <a:p>
            <a:pPr lvl="0" algn="ctr">
              <a:defRPr/>
            </a:pPr>
            <a:r>
              <a:rPr lang="en-US" dirty="0">
                <a:solidFill>
                  <a:prstClr val="black"/>
                </a:solidFill>
              </a:rPr>
              <a:t>For retaining publishing mail volumes.</a:t>
            </a:r>
            <a:endParaRPr lang="en-GB" dirty="0">
              <a:solidFill>
                <a:prstClr val="black"/>
              </a:solidFill>
              <a:ea typeface="Noto Sans" panose="020B0502040504020204" pitchFamily="34"/>
              <a:cs typeface="Noto Sans" panose="020B0502040504020204" pitchFamily="34"/>
            </a:endParaRPr>
          </a:p>
        </p:txBody>
      </p:sp>
      <p:sp>
        <p:nvSpPr>
          <p:cNvPr id="22" name="TextBox 21">
            <a:extLst>
              <a:ext uri="{FF2B5EF4-FFF2-40B4-BE49-F238E27FC236}">
                <a16:creationId xmlns:a16="http://schemas.microsoft.com/office/drawing/2014/main" id="{DC8026BC-EC87-4959-8527-6E392AFF0083}"/>
              </a:ext>
            </a:extLst>
          </p:cNvPr>
          <p:cNvSpPr txBox="1"/>
          <p:nvPr/>
        </p:nvSpPr>
        <p:spPr>
          <a:xfrm>
            <a:off x="1240080"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WHO IS IT FOR?</a:t>
            </a:r>
          </a:p>
        </p:txBody>
      </p:sp>
      <p:sp>
        <p:nvSpPr>
          <p:cNvPr id="23" name="TextBox 22">
            <a:extLst>
              <a:ext uri="{FF2B5EF4-FFF2-40B4-BE49-F238E27FC236}">
                <a16:creationId xmlns:a16="http://schemas.microsoft.com/office/drawing/2014/main" id="{AE849884-5C52-4DC3-8F38-34EA0D2E0165}"/>
              </a:ext>
            </a:extLst>
          </p:cNvPr>
          <p:cNvSpPr txBox="1"/>
          <p:nvPr/>
        </p:nvSpPr>
        <p:spPr>
          <a:xfrm>
            <a:off x="3698519" y="4527638"/>
            <a:ext cx="2268000" cy="923330"/>
          </a:xfrm>
          <a:prstGeom prst="rect">
            <a:avLst/>
          </a:prstGeom>
          <a:noFill/>
        </p:spPr>
        <p:txBody>
          <a:bodyPr wrap="square" rtlCol="0">
            <a:spAutoFit/>
          </a:bodyPr>
          <a:lstStyle/>
          <a:p>
            <a:pPr lvl="0" algn="ctr">
              <a:defRPr/>
            </a:pPr>
            <a:r>
              <a:rPr lang="en-US" dirty="0">
                <a:solidFill>
                  <a:prstClr val="black"/>
                </a:solidFill>
              </a:rPr>
              <a:t>A postage credit is available on eligible mail.</a:t>
            </a:r>
            <a:endParaRPr lang="en-GB" dirty="0">
              <a:solidFill>
                <a:prstClr val="black"/>
              </a:solidFill>
              <a:ea typeface="Noto Sans" panose="020B0502040504020204" pitchFamily="34"/>
              <a:cs typeface="Noto Sans" panose="020B0502040504020204" pitchFamily="34"/>
            </a:endParaRPr>
          </a:p>
        </p:txBody>
      </p:sp>
      <p:sp>
        <p:nvSpPr>
          <p:cNvPr id="24" name="TextBox 23">
            <a:extLst>
              <a:ext uri="{FF2B5EF4-FFF2-40B4-BE49-F238E27FC236}">
                <a16:creationId xmlns:a16="http://schemas.microsoft.com/office/drawing/2014/main" id="{75D4DE65-307F-4D2F-B64E-B58DCC80C558}"/>
              </a:ext>
            </a:extLst>
          </p:cNvPr>
          <p:cNvSpPr txBox="1"/>
          <p:nvPr/>
        </p:nvSpPr>
        <p:spPr>
          <a:xfrm>
            <a:off x="3558573" y="4232560"/>
            <a:ext cx="254789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CREDIT</a:t>
            </a:r>
          </a:p>
        </p:txBody>
      </p:sp>
      <p:sp>
        <p:nvSpPr>
          <p:cNvPr id="25" name="TextBox 24">
            <a:extLst>
              <a:ext uri="{FF2B5EF4-FFF2-40B4-BE49-F238E27FC236}">
                <a16:creationId xmlns:a16="http://schemas.microsoft.com/office/drawing/2014/main" id="{0B38C6A0-8950-4653-A122-E1494FE3511E}"/>
              </a:ext>
            </a:extLst>
          </p:cNvPr>
          <p:cNvSpPr txBox="1"/>
          <p:nvPr/>
        </p:nvSpPr>
        <p:spPr>
          <a:xfrm>
            <a:off x="6413814" y="4516926"/>
            <a:ext cx="2268000" cy="2031325"/>
          </a:xfrm>
          <a:prstGeom prst="rect">
            <a:avLst/>
          </a:prstGeom>
          <a:noFill/>
        </p:spPr>
        <p:txBody>
          <a:bodyPr wrap="square" rtlCol="0">
            <a:spAutoFit/>
          </a:bodyPr>
          <a:lstStyle/>
          <a:p>
            <a:pPr algn="ctr">
              <a:defRPr/>
            </a:pPr>
            <a:r>
              <a:rPr lang="en-US" dirty="0">
                <a:solidFill>
                  <a:prstClr val="black"/>
                </a:solidFill>
                <a:ea typeface="Noto Sans" panose="020B0502040504020204" pitchFamily="34"/>
                <a:cs typeface="Noto Sans" panose="020B0502040504020204" pitchFamily="34"/>
              </a:rPr>
              <a:t>You must mail at least 95% of the volume mailed the year before and mail at least 250k items during a 12 month period.</a:t>
            </a:r>
            <a:endParaRPr lang="en-GB" dirty="0">
              <a:solidFill>
                <a:prstClr val="black"/>
              </a:solidFill>
              <a:ea typeface="Noto Sans" panose="020B0502040504020204" pitchFamily="34"/>
              <a:cs typeface="Noto Sans" panose="020B0502040504020204" pitchFamily="34"/>
            </a:endParaRPr>
          </a:p>
        </p:txBody>
      </p:sp>
      <p:sp>
        <p:nvSpPr>
          <p:cNvPr id="26" name="TextBox 25">
            <a:extLst>
              <a:ext uri="{FF2B5EF4-FFF2-40B4-BE49-F238E27FC236}">
                <a16:creationId xmlns:a16="http://schemas.microsoft.com/office/drawing/2014/main" id="{8BACA290-B65F-4098-A23C-EACFBE78D729}"/>
              </a:ext>
            </a:extLst>
          </p:cNvPr>
          <p:cNvSpPr txBox="1"/>
          <p:nvPr/>
        </p:nvSpPr>
        <p:spPr>
          <a:xfrm>
            <a:off x="6583179"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TO QUALIFY</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7" name="TextBox 26">
            <a:extLst>
              <a:ext uri="{FF2B5EF4-FFF2-40B4-BE49-F238E27FC236}">
                <a16:creationId xmlns:a16="http://schemas.microsoft.com/office/drawing/2014/main" id="{36570964-23FB-47F3-BAC3-C1E0F66CF08D}"/>
              </a:ext>
            </a:extLst>
          </p:cNvPr>
          <p:cNvSpPr txBox="1"/>
          <p:nvPr/>
        </p:nvSpPr>
        <p:spPr>
          <a:xfrm>
            <a:off x="8923996" y="4517699"/>
            <a:ext cx="226800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ea typeface="+mn-ea"/>
                <a:cs typeface="+mn-cs"/>
              </a:rPr>
              <a:t>For more information and  to apply go to </a:t>
            </a:r>
            <a:r>
              <a:rPr kumimoji="0" lang="en-US" b="0" i="0" u="none" strike="noStrike" kern="1200" cap="none" spc="0" normalizeH="0" baseline="0" noProof="0" dirty="0">
                <a:ln>
                  <a:noFill/>
                </a:ln>
                <a:solidFill>
                  <a:prstClr val="black"/>
                </a:solidFill>
                <a:effectLst/>
                <a:uLnTx/>
                <a:uFillTx/>
                <a:ea typeface="+mn-ea"/>
                <a:cs typeface="+mn-cs"/>
                <a:hlinkClick r:id="rId16"/>
              </a:rPr>
              <a:t>www.royalmailwholesale.com</a:t>
            </a:r>
            <a:endParaRPr kumimoji="0" lang="en-US" b="0" i="0"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8" name="TextBox 27">
            <a:extLst>
              <a:ext uri="{FF2B5EF4-FFF2-40B4-BE49-F238E27FC236}">
                <a16:creationId xmlns:a16="http://schemas.microsoft.com/office/drawing/2014/main" id="{8A0FA46C-5FBD-4E24-9308-324960AF2B23}"/>
              </a:ext>
            </a:extLst>
          </p:cNvPr>
          <p:cNvSpPr txBox="1"/>
          <p:nvPr/>
        </p:nvSpPr>
        <p:spPr>
          <a:xfrm>
            <a:off x="9093361"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TO APPLY</a:t>
            </a:r>
          </a:p>
        </p:txBody>
      </p:sp>
      <p:grpSp>
        <p:nvGrpSpPr>
          <p:cNvPr id="31" name="Target" descr="{&quot;Key&quot;:&quot;POWER_USER_SHAPE_ICON&quot;,&quot;Value&quot;:&quot;POWER_USER_SHAPE_ICON_STYLE_1&quot;}">
            <a:extLst>
              <a:ext uri="{FF2B5EF4-FFF2-40B4-BE49-F238E27FC236}">
                <a16:creationId xmlns:a16="http://schemas.microsoft.com/office/drawing/2014/main" id="{E083CFF5-0307-41EA-8FF0-F05CE93AF9BA}"/>
              </a:ext>
            </a:extLst>
          </p:cNvPr>
          <p:cNvGrpSpPr>
            <a:grpSpLocks noChangeAspect="1"/>
          </p:cNvGrpSpPr>
          <p:nvPr>
            <p:custDataLst>
              <p:tags r:id="rId1"/>
            </p:custDataLst>
          </p:nvPr>
        </p:nvGrpSpPr>
        <p:grpSpPr bwMode="auto">
          <a:xfrm>
            <a:off x="1603135" y="2552807"/>
            <a:ext cx="1161193" cy="1163810"/>
            <a:chOff x="20" y="21"/>
            <a:chExt cx="444" cy="445"/>
          </a:xfrm>
          <a:solidFill>
            <a:schemeClr val="tx1"/>
          </a:solidFill>
        </p:grpSpPr>
        <p:sp>
          <p:nvSpPr>
            <p:cNvPr id="32" name="Target">
              <a:extLst>
                <a:ext uri="{FF2B5EF4-FFF2-40B4-BE49-F238E27FC236}">
                  <a16:creationId xmlns:a16="http://schemas.microsoft.com/office/drawing/2014/main" id="{1E0730BE-D8B9-4204-98B2-10CA00760564}"/>
                </a:ext>
              </a:extLst>
            </p:cNvPr>
            <p:cNvSpPr>
              <a:spLocks/>
            </p:cNvSpPr>
            <p:nvPr>
              <p:custDataLst>
                <p:tags r:id="rId10"/>
              </p:custDataLst>
            </p:nvPr>
          </p:nvSpPr>
          <p:spPr bwMode="auto">
            <a:xfrm>
              <a:off x="124" y="166"/>
              <a:ext cx="159" cy="19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Target">
              <a:extLst>
                <a:ext uri="{FF2B5EF4-FFF2-40B4-BE49-F238E27FC236}">
                  <a16:creationId xmlns:a16="http://schemas.microsoft.com/office/drawing/2014/main" id="{B20E0DDC-178A-4524-BA1C-296407E6B87C}"/>
                </a:ext>
              </a:extLst>
            </p:cNvPr>
            <p:cNvSpPr>
              <a:spLocks/>
            </p:cNvSpPr>
            <p:nvPr>
              <p:custDataLst>
                <p:tags r:id="rId11"/>
              </p:custDataLst>
            </p:nvPr>
          </p:nvSpPr>
          <p:spPr bwMode="auto">
            <a:xfrm>
              <a:off x="200" y="125"/>
              <a:ext cx="159" cy="196"/>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Target">
              <a:extLst>
                <a:ext uri="{FF2B5EF4-FFF2-40B4-BE49-F238E27FC236}">
                  <a16:creationId xmlns:a16="http://schemas.microsoft.com/office/drawing/2014/main" id="{E3BEF30B-10CB-43AD-B3EB-14F0F0A32A0C}"/>
                </a:ext>
              </a:extLst>
            </p:cNvPr>
            <p:cNvSpPr>
              <a:spLocks noEditPoints="1"/>
            </p:cNvSpPr>
            <p:nvPr>
              <p:custDataLst>
                <p:tags r:id="rId12"/>
              </p:custDataLst>
            </p:nvPr>
          </p:nvSpPr>
          <p:spPr bwMode="auto">
            <a:xfrm>
              <a:off x="20" y="21"/>
              <a:ext cx="444" cy="445"/>
            </a:xfrm>
            <a:custGeom>
              <a:avLst/>
              <a:gdLst>
                <a:gd name="T0" fmla="*/ 1157 w 1182"/>
                <a:gd name="T1" fmla="*/ 566 h 1181"/>
                <a:gd name="T2" fmla="*/ 1088 w 1182"/>
                <a:gd name="T3" fmla="*/ 566 h 1181"/>
                <a:gd name="T4" fmla="*/ 616 w 1182"/>
                <a:gd name="T5" fmla="*/ 94 h 1181"/>
                <a:gd name="T6" fmla="*/ 616 w 1182"/>
                <a:gd name="T7" fmla="*/ 25 h 1181"/>
                <a:gd name="T8" fmla="*/ 591 w 1182"/>
                <a:gd name="T9" fmla="*/ 0 h 1181"/>
                <a:gd name="T10" fmla="*/ 566 w 1182"/>
                <a:gd name="T11" fmla="*/ 25 h 1181"/>
                <a:gd name="T12" fmla="*/ 566 w 1182"/>
                <a:gd name="T13" fmla="*/ 94 h 1181"/>
                <a:gd name="T14" fmla="*/ 94 w 1182"/>
                <a:gd name="T15" fmla="*/ 566 h 1181"/>
                <a:gd name="T16" fmla="*/ 25 w 1182"/>
                <a:gd name="T17" fmla="*/ 566 h 1181"/>
                <a:gd name="T18" fmla="*/ 0 w 1182"/>
                <a:gd name="T19" fmla="*/ 591 h 1181"/>
                <a:gd name="T20" fmla="*/ 25 w 1182"/>
                <a:gd name="T21" fmla="*/ 616 h 1181"/>
                <a:gd name="T22" fmla="*/ 94 w 1182"/>
                <a:gd name="T23" fmla="*/ 616 h 1181"/>
                <a:gd name="T24" fmla="*/ 566 w 1182"/>
                <a:gd name="T25" fmla="*/ 1088 h 1181"/>
                <a:gd name="T26" fmla="*/ 566 w 1182"/>
                <a:gd name="T27" fmla="*/ 1156 h 1181"/>
                <a:gd name="T28" fmla="*/ 591 w 1182"/>
                <a:gd name="T29" fmla="*/ 1181 h 1181"/>
                <a:gd name="T30" fmla="*/ 616 w 1182"/>
                <a:gd name="T31" fmla="*/ 1156 h 1181"/>
                <a:gd name="T32" fmla="*/ 616 w 1182"/>
                <a:gd name="T33" fmla="*/ 1088 h 1181"/>
                <a:gd name="T34" fmla="*/ 1088 w 1182"/>
                <a:gd name="T35" fmla="*/ 616 h 1181"/>
                <a:gd name="T36" fmla="*/ 1157 w 1182"/>
                <a:gd name="T37" fmla="*/ 616 h 1181"/>
                <a:gd name="T38" fmla="*/ 1182 w 1182"/>
                <a:gd name="T39" fmla="*/ 591 h 1181"/>
                <a:gd name="T40" fmla="*/ 1157 w 1182"/>
                <a:gd name="T41" fmla="*/ 566 h 1181"/>
                <a:gd name="T42" fmla="*/ 616 w 1182"/>
                <a:gd name="T43" fmla="*/ 1037 h 1181"/>
                <a:gd name="T44" fmla="*/ 616 w 1182"/>
                <a:gd name="T45" fmla="*/ 1015 h 1181"/>
                <a:gd name="T46" fmla="*/ 591 w 1182"/>
                <a:gd name="T47" fmla="*/ 990 h 1181"/>
                <a:gd name="T48" fmla="*/ 566 w 1182"/>
                <a:gd name="T49" fmla="*/ 1015 h 1181"/>
                <a:gd name="T50" fmla="*/ 566 w 1182"/>
                <a:gd name="T51" fmla="*/ 1037 h 1181"/>
                <a:gd name="T52" fmla="*/ 144 w 1182"/>
                <a:gd name="T53" fmla="*/ 616 h 1181"/>
                <a:gd name="T54" fmla="*/ 166 w 1182"/>
                <a:gd name="T55" fmla="*/ 616 h 1181"/>
                <a:gd name="T56" fmla="*/ 191 w 1182"/>
                <a:gd name="T57" fmla="*/ 591 h 1181"/>
                <a:gd name="T58" fmla="*/ 166 w 1182"/>
                <a:gd name="T59" fmla="*/ 566 h 1181"/>
                <a:gd name="T60" fmla="*/ 144 w 1182"/>
                <a:gd name="T61" fmla="*/ 566 h 1181"/>
                <a:gd name="T62" fmla="*/ 566 w 1182"/>
                <a:gd name="T63" fmla="*/ 144 h 1181"/>
                <a:gd name="T64" fmla="*/ 566 w 1182"/>
                <a:gd name="T65" fmla="*/ 166 h 1181"/>
                <a:gd name="T66" fmla="*/ 591 w 1182"/>
                <a:gd name="T67" fmla="*/ 191 h 1181"/>
                <a:gd name="T68" fmla="*/ 616 w 1182"/>
                <a:gd name="T69" fmla="*/ 166 h 1181"/>
                <a:gd name="T70" fmla="*/ 616 w 1182"/>
                <a:gd name="T71" fmla="*/ 144 h 1181"/>
                <a:gd name="T72" fmla="*/ 1038 w 1182"/>
                <a:gd name="T73" fmla="*/ 566 h 1181"/>
                <a:gd name="T74" fmla="*/ 1016 w 1182"/>
                <a:gd name="T75" fmla="*/ 566 h 1181"/>
                <a:gd name="T76" fmla="*/ 991 w 1182"/>
                <a:gd name="T77" fmla="*/ 591 h 1181"/>
                <a:gd name="T78" fmla="*/ 1016 w 1182"/>
                <a:gd name="T79" fmla="*/ 616 h 1181"/>
                <a:gd name="T80" fmla="*/ 1038 w 1182"/>
                <a:gd name="T81" fmla="*/ 616 h 1181"/>
                <a:gd name="T82" fmla="*/ 616 w 1182"/>
                <a:gd name="T83" fmla="*/ 1037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2" h="1181">
                  <a:moveTo>
                    <a:pt x="1157" y="566"/>
                  </a:moveTo>
                  <a:lnTo>
                    <a:pt x="1088" y="566"/>
                  </a:lnTo>
                  <a:cubicBezTo>
                    <a:pt x="1075" y="311"/>
                    <a:pt x="870" y="106"/>
                    <a:pt x="616" y="94"/>
                  </a:cubicBezTo>
                  <a:lnTo>
                    <a:pt x="616" y="25"/>
                  </a:lnTo>
                  <a:cubicBezTo>
                    <a:pt x="616" y="11"/>
                    <a:pt x="605" y="0"/>
                    <a:pt x="591" y="0"/>
                  </a:cubicBezTo>
                  <a:cubicBezTo>
                    <a:pt x="577" y="0"/>
                    <a:pt x="566" y="11"/>
                    <a:pt x="566" y="25"/>
                  </a:cubicBezTo>
                  <a:lnTo>
                    <a:pt x="566" y="94"/>
                  </a:lnTo>
                  <a:cubicBezTo>
                    <a:pt x="311" y="106"/>
                    <a:pt x="107" y="311"/>
                    <a:pt x="94" y="566"/>
                  </a:cubicBezTo>
                  <a:lnTo>
                    <a:pt x="25" y="566"/>
                  </a:lnTo>
                  <a:cubicBezTo>
                    <a:pt x="11" y="566"/>
                    <a:pt x="0" y="577"/>
                    <a:pt x="0" y="591"/>
                  </a:cubicBezTo>
                  <a:cubicBezTo>
                    <a:pt x="0" y="604"/>
                    <a:pt x="11" y="616"/>
                    <a:pt x="25" y="616"/>
                  </a:cubicBezTo>
                  <a:lnTo>
                    <a:pt x="94" y="616"/>
                  </a:lnTo>
                  <a:cubicBezTo>
                    <a:pt x="107" y="870"/>
                    <a:pt x="311" y="1075"/>
                    <a:pt x="566" y="1088"/>
                  </a:cubicBezTo>
                  <a:lnTo>
                    <a:pt x="566" y="1156"/>
                  </a:lnTo>
                  <a:cubicBezTo>
                    <a:pt x="566" y="1170"/>
                    <a:pt x="577" y="1181"/>
                    <a:pt x="591" y="1181"/>
                  </a:cubicBezTo>
                  <a:cubicBezTo>
                    <a:pt x="605" y="1181"/>
                    <a:pt x="616" y="1170"/>
                    <a:pt x="616" y="1156"/>
                  </a:cubicBezTo>
                  <a:lnTo>
                    <a:pt x="616" y="1088"/>
                  </a:lnTo>
                  <a:cubicBezTo>
                    <a:pt x="870" y="1075"/>
                    <a:pt x="1075" y="870"/>
                    <a:pt x="1088" y="616"/>
                  </a:cubicBezTo>
                  <a:lnTo>
                    <a:pt x="1157" y="616"/>
                  </a:lnTo>
                  <a:cubicBezTo>
                    <a:pt x="1170" y="616"/>
                    <a:pt x="1182" y="604"/>
                    <a:pt x="1182" y="591"/>
                  </a:cubicBezTo>
                  <a:cubicBezTo>
                    <a:pt x="1182" y="577"/>
                    <a:pt x="1170" y="566"/>
                    <a:pt x="1157" y="566"/>
                  </a:cubicBezTo>
                  <a:close/>
                  <a:moveTo>
                    <a:pt x="616" y="1037"/>
                  </a:moveTo>
                  <a:lnTo>
                    <a:pt x="616" y="1015"/>
                  </a:lnTo>
                  <a:cubicBezTo>
                    <a:pt x="616" y="1002"/>
                    <a:pt x="605" y="990"/>
                    <a:pt x="591" y="990"/>
                  </a:cubicBezTo>
                  <a:cubicBezTo>
                    <a:pt x="577" y="990"/>
                    <a:pt x="566" y="1002"/>
                    <a:pt x="566" y="1015"/>
                  </a:cubicBezTo>
                  <a:lnTo>
                    <a:pt x="566" y="1037"/>
                  </a:lnTo>
                  <a:cubicBezTo>
                    <a:pt x="339" y="1025"/>
                    <a:pt x="157" y="843"/>
                    <a:pt x="144" y="616"/>
                  </a:cubicBezTo>
                  <a:lnTo>
                    <a:pt x="166" y="616"/>
                  </a:lnTo>
                  <a:cubicBezTo>
                    <a:pt x="180" y="616"/>
                    <a:pt x="191" y="604"/>
                    <a:pt x="191" y="591"/>
                  </a:cubicBezTo>
                  <a:cubicBezTo>
                    <a:pt x="191" y="577"/>
                    <a:pt x="180" y="566"/>
                    <a:pt x="166" y="566"/>
                  </a:cubicBezTo>
                  <a:lnTo>
                    <a:pt x="144" y="566"/>
                  </a:lnTo>
                  <a:cubicBezTo>
                    <a:pt x="157" y="339"/>
                    <a:pt x="339" y="156"/>
                    <a:pt x="566" y="144"/>
                  </a:cubicBezTo>
                  <a:lnTo>
                    <a:pt x="566" y="166"/>
                  </a:lnTo>
                  <a:cubicBezTo>
                    <a:pt x="566" y="180"/>
                    <a:pt x="577" y="191"/>
                    <a:pt x="591" y="191"/>
                  </a:cubicBezTo>
                  <a:cubicBezTo>
                    <a:pt x="605" y="191"/>
                    <a:pt x="616" y="180"/>
                    <a:pt x="616" y="166"/>
                  </a:cubicBezTo>
                  <a:lnTo>
                    <a:pt x="616" y="144"/>
                  </a:lnTo>
                  <a:cubicBezTo>
                    <a:pt x="843" y="156"/>
                    <a:pt x="1025" y="339"/>
                    <a:pt x="1038" y="566"/>
                  </a:cubicBezTo>
                  <a:lnTo>
                    <a:pt x="1016" y="566"/>
                  </a:lnTo>
                  <a:cubicBezTo>
                    <a:pt x="1002" y="566"/>
                    <a:pt x="991" y="577"/>
                    <a:pt x="991" y="591"/>
                  </a:cubicBezTo>
                  <a:cubicBezTo>
                    <a:pt x="991" y="604"/>
                    <a:pt x="1002" y="616"/>
                    <a:pt x="1016" y="616"/>
                  </a:cubicBezTo>
                  <a:lnTo>
                    <a:pt x="1038" y="616"/>
                  </a:lnTo>
                  <a:cubicBezTo>
                    <a:pt x="1025" y="843"/>
                    <a:pt x="843" y="1025"/>
                    <a:pt x="616" y="10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5" name="Tag2" descr="{&quot;Key&quot;:&quot;POWER_USER_SHAPE_ICON&quot;,&quot;Value&quot;:&quot;POWER_USER_SHAPE_ICON_STYLE_1&quot;}">
            <a:extLst>
              <a:ext uri="{FF2B5EF4-FFF2-40B4-BE49-F238E27FC236}">
                <a16:creationId xmlns:a16="http://schemas.microsoft.com/office/drawing/2014/main" id="{659CBCFE-82B4-4F42-A5C4-73DF06201464}"/>
              </a:ext>
            </a:extLst>
          </p:cNvPr>
          <p:cNvSpPr>
            <a:spLocks noChangeAspect="1" noEditPoints="1"/>
          </p:cNvSpPr>
          <p:nvPr>
            <p:custDataLst>
              <p:tags r:id="rId2"/>
            </p:custDataLst>
          </p:nvPr>
        </p:nvSpPr>
        <p:spPr bwMode="auto">
          <a:xfrm>
            <a:off x="4285635" y="2645605"/>
            <a:ext cx="966138" cy="961826"/>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50B5BB6E-828A-48C8-AFA6-E502A7A6E8F1}"/>
              </a:ext>
            </a:extLst>
          </p:cNvPr>
          <p:cNvSpPr txBox="1"/>
          <p:nvPr/>
        </p:nvSpPr>
        <p:spPr>
          <a:xfrm>
            <a:off x="4498570" y="2871091"/>
            <a:ext cx="502061" cy="400110"/>
          </a:xfrm>
          <a:prstGeom prst="rect">
            <a:avLst/>
          </a:prstGeom>
          <a:noFill/>
        </p:spPr>
        <p:txBody>
          <a:bodyPr wrap="none" rtlCol="0">
            <a:spAutoFit/>
          </a:bodyPr>
          <a:lstStyle/>
          <a:p>
            <a:r>
              <a:rPr lang="en-GB" sz="2000" b="1" dirty="0">
                <a:solidFill>
                  <a:schemeClr val="bg1"/>
                </a:solidFill>
              </a:rPr>
              <a:t>2%</a:t>
            </a:r>
          </a:p>
        </p:txBody>
      </p:sp>
      <p:grpSp>
        <p:nvGrpSpPr>
          <p:cNvPr id="39" name="Application" descr="{&quot;Key&quot;:&quot;POWER_USER_SHAPE_ICON&quot;,&quot;Value&quot;:&quot;POWER_USER_SHAPE_ICON_STYLE_1&quot;}">
            <a:extLst>
              <a:ext uri="{FF2B5EF4-FFF2-40B4-BE49-F238E27FC236}">
                <a16:creationId xmlns:a16="http://schemas.microsoft.com/office/drawing/2014/main" id="{07FAE2BC-EFF3-44DD-8D7C-36753C44186D}"/>
              </a:ext>
            </a:extLst>
          </p:cNvPr>
          <p:cNvGrpSpPr>
            <a:grpSpLocks noChangeAspect="1"/>
          </p:cNvGrpSpPr>
          <p:nvPr>
            <p:custDataLst>
              <p:tags r:id="rId3"/>
            </p:custDataLst>
          </p:nvPr>
        </p:nvGrpSpPr>
        <p:grpSpPr bwMode="auto">
          <a:xfrm>
            <a:off x="9696662" y="2731821"/>
            <a:ext cx="701646" cy="874387"/>
            <a:chOff x="46" y="2"/>
            <a:chExt cx="394" cy="491"/>
          </a:xfrm>
          <a:solidFill>
            <a:schemeClr val="tx1"/>
          </a:solidFill>
        </p:grpSpPr>
        <p:sp>
          <p:nvSpPr>
            <p:cNvPr id="40" name="Application">
              <a:extLst>
                <a:ext uri="{FF2B5EF4-FFF2-40B4-BE49-F238E27FC236}">
                  <a16:creationId xmlns:a16="http://schemas.microsoft.com/office/drawing/2014/main" id="{F743D702-8C00-4C89-9B13-11F8447B05EC}"/>
                </a:ext>
              </a:extLst>
            </p:cNvPr>
            <p:cNvSpPr>
              <a:spLocks/>
            </p:cNvSpPr>
            <p:nvPr>
              <p:custDataLst>
                <p:tags r:id="rId4"/>
              </p:custDataLst>
            </p:nvPr>
          </p:nvSpPr>
          <p:spPr bwMode="auto">
            <a:xfrm>
              <a:off x="333" y="309"/>
              <a:ext cx="55" cy="64"/>
            </a:xfrm>
            <a:custGeom>
              <a:avLst/>
              <a:gdLst>
                <a:gd name="T0" fmla="*/ 147 w 147"/>
                <a:gd name="T1" fmla="*/ 144 h 171"/>
                <a:gd name="T2" fmla="*/ 123 w 147"/>
                <a:gd name="T3" fmla="*/ 0 h 171"/>
                <a:gd name="T4" fmla="*/ 0 w 147"/>
                <a:gd name="T5" fmla="*/ 38 h 171"/>
                <a:gd name="T6" fmla="*/ 60 w 147"/>
                <a:gd name="T7" fmla="*/ 171 h 171"/>
                <a:gd name="T8" fmla="*/ 147 w 147"/>
                <a:gd name="T9" fmla="*/ 144 h 171"/>
              </a:gdLst>
              <a:ahLst/>
              <a:cxnLst>
                <a:cxn ang="0">
                  <a:pos x="T0" y="T1"/>
                </a:cxn>
                <a:cxn ang="0">
                  <a:pos x="T2" y="T3"/>
                </a:cxn>
                <a:cxn ang="0">
                  <a:pos x="T4" y="T5"/>
                </a:cxn>
                <a:cxn ang="0">
                  <a:pos x="T6" y="T7"/>
                </a:cxn>
                <a:cxn ang="0">
                  <a:pos x="T8" y="T9"/>
                </a:cxn>
              </a:cxnLst>
              <a:rect l="0" t="0" r="r" b="b"/>
              <a:pathLst>
                <a:path w="147" h="171">
                  <a:moveTo>
                    <a:pt x="147" y="144"/>
                  </a:moveTo>
                  <a:lnTo>
                    <a:pt x="123" y="0"/>
                  </a:lnTo>
                  <a:lnTo>
                    <a:pt x="0" y="38"/>
                  </a:lnTo>
                  <a:lnTo>
                    <a:pt x="60" y="171"/>
                  </a:lnTo>
                  <a:lnTo>
                    <a:pt x="147" y="14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Application">
              <a:extLst>
                <a:ext uri="{FF2B5EF4-FFF2-40B4-BE49-F238E27FC236}">
                  <a16:creationId xmlns:a16="http://schemas.microsoft.com/office/drawing/2014/main" id="{1B9A4A84-9C9D-4856-B6A7-C26D8E4B1D44}"/>
                </a:ext>
              </a:extLst>
            </p:cNvPr>
            <p:cNvSpPr>
              <a:spLocks/>
            </p:cNvSpPr>
            <p:nvPr>
              <p:custDataLst>
                <p:tags r:id="rId5"/>
              </p:custDataLst>
            </p:nvPr>
          </p:nvSpPr>
          <p:spPr bwMode="auto">
            <a:xfrm>
              <a:off x="345" y="369"/>
              <a:ext cx="69" cy="124"/>
            </a:xfrm>
            <a:custGeom>
              <a:avLst/>
              <a:gdLst>
                <a:gd name="T0" fmla="*/ 169 w 184"/>
                <a:gd name="T1" fmla="*/ 99 h 329"/>
                <a:gd name="T2" fmla="*/ 116 w 184"/>
                <a:gd name="T3" fmla="*/ 0 h 329"/>
                <a:gd name="T4" fmla="*/ 29 w 184"/>
                <a:gd name="T5" fmla="*/ 27 h 329"/>
                <a:gd name="T6" fmla="*/ 20 w 184"/>
                <a:gd name="T7" fmla="*/ 144 h 329"/>
                <a:gd name="T8" fmla="*/ 139 w 184"/>
                <a:gd name="T9" fmla="*/ 275 h 329"/>
                <a:gd name="T10" fmla="*/ 169 w 184"/>
                <a:gd name="T11" fmla="*/ 99 h 329"/>
              </a:gdLst>
              <a:ahLst/>
              <a:cxnLst>
                <a:cxn ang="0">
                  <a:pos x="T0" y="T1"/>
                </a:cxn>
                <a:cxn ang="0">
                  <a:pos x="T2" y="T3"/>
                </a:cxn>
                <a:cxn ang="0">
                  <a:pos x="T4" y="T5"/>
                </a:cxn>
                <a:cxn ang="0">
                  <a:pos x="T6" y="T7"/>
                </a:cxn>
                <a:cxn ang="0">
                  <a:pos x="T8" y="T9"/>
                </a:cxn>
                <a:cxn ang="0">
                  <a:pos x="T10" y="T11"/>
                </a:cxn>
              </a:cxnLst>
              <a:rect l="0" t="0" r="r" b="b"/>
              <a:pathLst>
                <a:path w="184" h="329">
                  <a:moveTo>
                    <a:pt x="169" y="99"/>
                  </a:moveTo>
                  <a:cubicBezTo>
                    <a:pt x="158" y="60"/>
                    <a:pt x="127" y="15"/>
                    <a:pt x="116" y="0"/>
                  </a:cubicBezTo>
                  <a:lnTo>
                    <a:pt x="29" y="27"/>
                  </a:lnTo>
                  <a:cubicBezTo>
                    <a:pt x="20" y="45"/>
                    <a:pt x="0" y="92"/>
                    <a:pt x="20" y="144"/>
                  </a:cubicBezTo>
                  <a:cubicBezTo>
                    <a:pt x="40" y="198"/>
                    <a:pt x="144" y="329"/>
                    <a:pt x="139" y="275"/>
                  </a:cubicBezTo>
                  <a:cubicBezTo>
                    <a:pt x="129" y="167"/>
                    <a:pt x="184" y="146"/>
                    <a:pt x="169"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Application">
              <a:extLst>
                <a:ext uri="{FF2B5EF4-FFF2-40B4-BE49-F238E27FC236}">
                  <a16:creationId xmlns:a16="http://schemas.microsoft.com/office/drawing/2014/main" id="{95976E1D-D4CA-4AD5-9A3C-6752A327F2F2}"/>
                </a:ext>
              </a:extLst>
            </p:cNvPr>
            <p:cNvSpPr>
              <a:spLocks/>
            </p:cNvSpPr>
            <p:nvPr>
              <p:custDataLst>
                <p:tags r:id="rId6"/>
              </p:custDataLst>
            </p:nvPr>
          </p:nvSpPr>
          <p:spPr bwMode="auto">
            <a:xfrm>
              <a:off x="46" y="2"/>
              <a:ext cx="394" cy="447"/>
            </a:xfrm>
            <a:custGeom>
              <a:avLst/>
              <a:gdLst>
                <a:gd name="T0" fmla="*/ 575 w 1050"/>
                <a:gd name="T1" fmla="*/ 18 h 1187"/>
                <a:gd name="T2" fmla="*/ 401 w 1050"/>
                <a:gd name="T3" fmla="*/ 578 h 1187"/>
                <a:gd name="T4" fmla="*/ 359 w 1050"/>
                <a:gd name="T5" fmla="*/ 346 h 1187"/>
                <a:gd name="T6" fmla="*/ 0 w 1050"/>
                <a:gd name="T7" fmla="*/ 578 h 1187"/>
                <a:gd name="T8" fmla="*/ 75 w 1050"/>
                <a:gd name="T9" fmla="*/ 728 h 1187"/>
                <a:gd name="T10" fmla="*/ 88 w 1050"/>
                <a:gd name="T11" fmla="*/ 678 h 1187"/>
                <a:gd name="T12" fmla="*/ 163 w 1050"/>
                <a:gd name="T13" fmla="*/ 728 h 1187"/>
                <a:gd name="T14" fmla="*/ 175 w 1050"/>
                <a:gd name="T15" fmla="*/ 678 h 1187"/>
                <a:gd name="T16" fmla="*/ 195 w 1050"/>
                <a:gd name="T17" fmla="*/ 728 h 1187"/>
                <a:gd name="T18" fmla="*/ 29 w 1050"/>
                <a:gd name="T19" fmla="*/ 1120 h 1187"/>
                <a:gd name="T20" fmla="*/ 57 w 1050"/>
                <a:gd name="T21" fmla="*/ 1133 h 1187"/>
                <a:gd name="T22" fmla="*/ 58 w 1050"/>
                <a:gd name="T23" fmla="*/ 1132 h 1187"/>
                <a:gd name="T24" fmla="*/ 70 w 1050"/>
                <a:gd name="T25" fmla="*/ 1159 h 1187"/>
                <a:gd name="T26" fmla="*/ 105 w 1050"/>
                <a:gd name="T27" fmla="*/ 1174 h 1187"/>
                <a:gd name="T28" fmla="*/ 129 w 1050"/>
                <a:gd name="T29" fmla="*/ 1162 h 1187"/>
                <a:gd name="T30" fmla="*/ 128 w 1050"/>
                <a:gd name="T31" fmla="*/ 1163 h 1187"/>
                <a:gd name="T32" fmla="*/ 148 w 1050"/>
                <a:gd name="T33" fmla="*/ 1171 h 1187"/>
                <a:gd name="T34" fmla="*/ 148 w 1050"/>
                <a:gd name="T35" fmla="*/ 1169 h 1187"/>
                <a:gd name="T36" fmla="*/ 363 w 1050"/>
                <a:gd name="T37" fmla="*/ 728 h 1187"/>
                <a:gd name="T38" fmla="*/ 375 w 1050"/>
                <a:gd name="T39" fmla="*/ 678 h 1187"/>
                <a:gd name="T40" fmla="*/ 463 w 1050"/>
                <a:gd name="T41" fmla="*/ 728 h 1187"/>
                <a:gd name="T42" fmla="*/ 475 w 1050"/>
                <a:gd name="T43" fmla="*/ 678 h 1187"/>
                <a:gd name="T44" fmla="*/ 563 w 1050"/>
                <a:gd name="T45" fmla="*/ 728 h 1187"/>
                <a:gd name="T46" fmla="*/ 575 w 1050"/>
                <a:gd name="T47" fmla="*/ 678 h 1187"/>
                <a:gd name="T48" fmla="*/ 663 w 1050"/>
                <a:gd name="T49" fmla="*/ 728 h 1187"/>
                <a:gd name="T50" fmla="*/ 675 w 1050"/>
                <a:gd name="T51" fmla="*/ 678 h 1187"/>
                <a:gd name="T52" fmla="*/ 727 w 1050"/>
                <a:gd name="T53" fmla="*/ 728 h 1187"/>
                <a:gd name="T54" fmla="*/ 877 w 1050"/>
                <a:gd name="T55" fmla="*/ 798 h 1187"/>
                <a:gd name="T56" fmla="*/ 875 w 1050"/>
                <a:gd name="T57" fmla="*/ 728 h 1187"/>
                <a:gd name="T58" fmla="*/ 888 w 1050"/>
                <a:gd name="T59" fmla="*/ 678 h 1187"/>
                <a:gd name="T60" fmla="*/ 975 w 1050"/>
                <a:gd name="T61" fmla="*/ 728 h 1187"/>
                <a:gd name="T62" fmla="*/ 988 w 1050"/>
                <a:gd name="T63" fmla="*/ 678 h 1187"/>
                <a:gd name="T64" fmla="*/ 1050 w 1050"/>
                <a:gd name="T65" fmla="*/ 728 h 1187"/>
                <a:gd name="T66" fmla="*/ 815 w 1050"/>
                <a:gd name="T67" fmla="*/ 57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0" h="1187">
                  <a:moveTo>
                    <a:pt x="815" y="578"/>
                  </a:moveTo>
                  <a:cubicBezTo>
                    <a:pt x="746" y="340"/>
                    <a:pt x="636" y="0"/>
                    <a:pt x="575" y="18"/>
                  </a:cubicBezTo>
                  <a:cubicBezTo>
                    <a:pt x="518" y="36"/>
                    <a:pt x="603" y="340"/>
                    <a:pt x="677" y="578"/>
                  </a:cubicBezTo>
                  <a:lnTo>
                    <a:pt x="401" y="578"/>
                  </a:lnTo>
                  <a:lnTo>
                    <a:pt x="478" y="396"/>
                  </a:lnTo>
                  <a:lnTo>
                    <a:pt x="359" y="346"/>
                  </a:lnTo>
                  <a:lnTo>
                    <a:pt x="261" y="578"/>
                  </a:lnTo>
                  <a:lnTo>
                    <a:pt x="0" y="578"/>
                  </a:lnTo>
                  <a:lnTo>
                    <a:pt x="0" y="728"/>
                  </a:lnTo>
                  <a:lnTo>
                    <a:pt x="75" y="728"/>
                  </a:lnTo>
                  <a:lnTo>
                    <a:pt x="75" y="678"/>
                  </a:lnTo>
                  <a:lnTo>
                    <a:pt x="88" y="678"/>
                  </a:lnTo>
                  <a:lnTo>
                    <a:pt x="88" y="728"/>
                  </a:lnTo>
                  <a:lnTo>
                    <a:pt x="163" y="728"/>
                  </a:lnTo>
                  <a:lnTo>
                    <a:pt x="163" y="678"/>
                  </a:lnTo>
                  <a:lnTo>
                    <a:pt x="175" y="678"/>
                  </a:lnTo>
                  <a:lnTo>
                    <a:pt x="175" y="728"/>
                  </a:lnTo>
                  <a:lnTo>
                    <a:pt x="195" y="728"/>
                  </a:lnTo>
                  <a:lnTo>
                    <a:pt x="30" y="1118"/>
                  </a:lnTo>
                  <a:cubicBezTo>
                    <a:pt x="30" y="1119"/>
                    <a:pt x="29" y="1120"/>
                    <a:pt x="29" y="1120"/>
                  </a:cubicBezTo>
                  <a:cubicBezTo>
                    <a:pt x="25" y="1130"/>
                    <a:pt x="28" y="1141"/>
                    <a:pt x="36" y="1144"/>
                  </a:cubicBezTo>
                  <a:cubicBezTo>
                    <a:pt x="43" y="1148"/>
                    <a:pt x="53" y="1143"/>
                    <a:pt x="57" y="1133"/>
                  </a:cubicBezTo>
                  <a:cubicBezTo>
                    <a:pt x="58" y="1132"/>
                    <a:pt x="58" y="1132"/>
                    <a:pt x="58" y="1132"/>
                  </a:cubicBezTo>
                  <a:lnTo>
                    <a:pt x="58" y="1132"/>
                  </a:lnTo>
                  <a:cubicBezTo>
                    <a:pt x="58" y="1132"/>
                    <a:pt x="58" y="1132"/>
                    <a:pt x="57" y="1133"/>
                  </a:cubicBezTo>
                  <a:cubicBezTo>
                    <a:pt x="53" y="1143"/>
                    <a:pt x="59" y="1154"/>
                    <a:pt x="70" y="1159"/>
                  </a:cubicBezTo>
                  <a:cubicBezTo>
                    <a:pt x="79" y="1163"/>
                    <a:pt x="89" y="1161"/>
                    <a:pt x="95" y="1155"/>
                  </a:cubicBezTo>
                  <a:cubicBezTo>
                    <a:pt x="94" y="1163"/>
                    <a:pt x="98" y="1171"/>
                    <a:pt x="105" y="1174"/>
                  </a:cubicBezTo>
                  <a:cubicBezTo>
                    <a:pt x="114" y="1178"/>
                    <a:pt x="124" y="1173"/>
                    <a:pt x="128" y="1163"/>
                  </a:cubicBezTo>
                  <a:cubicBezTo>
                    <a:pt x="129" y="1163"/>
                    <a:pt x="129" y="1162"/>
                    <a:pt x="129" y="1162"/>
                  </a:cubicBezTo>
                  <a:lnTo>
                    <a:pt x="129" y="1162"/>
                  </a:lnTo>
                  <a:cubicBezTo>
                    <a:pt x="129" y="1162"/>
                    <a:pt x="129" y="1163"/>
                    <a:pt x="128" y="1163"/>
                  </a:cubicBezTo>
                  <a:cubicBezTo>
                    <a:pt x="124" y="1173"/>
                    <a:pt x="125" y="1183"/>
                    <a:pt x="131" y="1185"/>
                  </a:cubicBezTo>
                  <a:cubicBezTo>
                    <a:pt x="136" y="1187"/>
                    <a:pt x="144" y="1181"/>
                    <a:pt x="148" y="1171"/>
                  </a:cubicBezTo>
                  <a:cubicBezTo>
                    <a:pt x="148" y="1171"/>
                    <a:pt x="148" y="1171"/>
                    <a:pt x="148" y="1170"/>
                  </a:cubicBezTo>
                  <a:lnTo>
                    <a:pt x="148" y="1169"/>
                  </a:lnTo>
                  <a:lnTo>
                    <a:pt x="336" y="728"/>
                  </a:lnTo>
                  <a:lnTo>
                    <a:pt x="363" y="728"/>
                  </a:lnTo>
                  <a:lnTo>
                    <a:pt x="363" y="678"/>
                  </a:lnTo>
                  <a:lnTo>
                    <a:pt x="375" y="678"/>
                  </a:lnTo>
                  <a:lnTo>
                    <a:pt x="375" y="728"/>
                  </a:lnTo>
                  <a:lnTo>
                    <a:pt x="463" y="728"/>
                  </a:lnTo>
                  <a:lnTo>
                    <a:pt x="463" y="678"/>
                  </a:lnTo>
                  <a:lnTo>
                    <a:pt x="475" y="678"/>
                  </a:lnTo>
                  <a:lnTo>
                    <a:pt x="475" y="728"/>
                  </a:lnTo>
                  <a:lnTo>
                    <a:pt x="563" y="728"/>
                  </a:lnTo>
                  <a:lnTo>
                    <a:pt x="563" y="678"/>
                  </a:lnTo>
                  <a:lnTo>
                    <a:pt x="575" y="678"/>
                  </a:lnTo>
                  <a:lnTo>
                    <a:pt x="575" y="728"/>
                  </a:lnTo>
                  <a:lnTo>
                    <a:pt x="663" y="728"/>
                  </a:lnTo>
                  <a:lnTo>
                    <a:pt x="663" y="678"/>
                  </a:lnTo>
                  <a:lnTo>
                    <a:pt x="675" y="678"/>
                  </a:lnTo>
                  <a:lnTo>
                    <a:pt x="675" y="728"/>
                  </a:lnTo>
                  <a:lnTo>
                    <a:pt x="727" y="728"/>
                  </a:lnTo>
                  <a:cubicBezTo>
                    <a:pt x="746" y="790"/>
                    <a:pt x="760" y="824"/>
                    <a:pt x="763" y="833"/>
                  </a:cubicBezTo>
                  <a:lnTo>
                    <a:pt x="877" y="798"/>
                  </a:lnTo>
                  <a:cubicBezTo>
                    <a:pt x="875" y="791"/>
                    <a:pt x="868" y="765"/>
                    <a:pt x="858" y="728"/>
                  </a:cubicBezTo>
                  <a:lnTo>
                    <a:pt x="875" y="728"/>
                  </a:lnTo>
                  <a:lnTo>
                    <a:pt x="875" y="678"/>
                  </a:lnTo>
                  <a:lnTo>
                    <a:pt x="888" y="678"/>
                  </a:lnTo>
                  <a:lnTo>
                    <a:pt x="888" y="728"/>
                  </a:lnTo>
                  <a:lnTo>
                    <a:pt x="975" y="728"/>
                  </a:lnTo>
                  <a:lnTo>
                    <a:pt x="975" y="678"/>
                  </a:lnTo>
                  <a:lnTo>
                    <a:pt x="988" y="678"/>
                  </a:lnTo>
                  <a:lnTo>
                    <a:pt x="988" y="728"/>
                  </a:lnTo>
                  <a:lnTo>
                    <a:pt x="1050" y="728"/>
                  </a:lnTo>
                  <a:lnTo>
                    <a:pt x="1050" y="578"/>
                  </a:lnTo>
                  <a:lnTo>
                    <a:pt x="815" y="57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Application">
              <a:extLst>
                <a:ext uri="{FF2B5EF4-FFF2-40B4-BE49-F238E27FC236}">
                  <a16:creationId xmlns:a16="http://schemas.microsoft.com/office/drawing/2014/main" id="{C3678537-696B-46B1-8174-E0F042E86BA3}"/>
                </a:ext>
              </a:extLst>
            </p:cNvPr>
            <p:cNvSpPr>
              <a:spLocks/>
            </p:cNvSpPr>
            <p:nvPr>
              <p:custDataLst>
                <p:tags r:id="rId7"/>
              </p:custDataLst>
            </p:nvPr>
          </p:nvSpPr>
          <p:spPr bwMode="auto">
            <a:xfrm>
              <a:off x="198" y="58"/>
              <a:ext cx="57" cy="51"/>
            </a:xfrm>
            <a:custGeom>
              <a:avLst/>
              <a:gdLst>
                <a:gd name="T0" fmla="*/ 143 w 151"/>
                <a:gd name="T1" fmla="*/ 79 h 134"/>
                <a:gd name="T2" fmla="*/ 122 w 151"/>
                <a:gd name="T3" fmla="*/ 29 h 134"/>
                <a:gd name="T4" fmla="*/ 74 w 151"/>
                <a:gd name="T5" fmla="*/ 8 h 134"/>
                <a:gd name="T6" fmla="*/ 24 w 151"/>
                <a:gd name="T7" fmla="*/ 29 h 134"/>
                <a:gd name="T8" fmla="*/ 0 w 151"/>
                <a:gd name="T9" fmla="*/ 84 h 134"/>
                <a:gd name="T10" fmla="*/ 119 w 151"/>
                <a:gd name="T11" fmla="*/ 134 h 134"/>
                <a:gd name="T12" fmla="*/ 143 w 151"/>
                <a:gd name="T13" fmla="*/ 79 h 134"/>
              </a:gdLst>
              <a:ahLst/>
              <a:cxnLst>
                <a:cxn ang="0">
                  <a:pos x="T0" y="T1"/>
                </a:cxn>
                <a:cxn ang="0">
                  <a:pos x="T2" y="T3"/>
                </a:cxn>
                <a:cxn ang="0">
                  <a:pos x="T4" y="T5"/>
                </a:cxn>
                <a:cxn ang="0">
                  <a:pos x="T6" y="T7"/>
                </a:cxn>
                <a:cxn ang="0">
                  <a:pos x="T8" y="T9"/>
                </a:cxn>
                <a:cxn ang="0">
                  <a:pos x="T10" y="T11"/>
                </a:cxn>
                <a:cxn ang="0">
                  <a:pos x="T12" y="T13"/>
                </a:cxn>
              </a:cxnLst>
              <a:rect l="0" t="0" r="r" b="b"/>
              <a:pathLst>
                <a:path w="151" h="134">
                  <a:moveTo>
                    <a:pt x="143" y="79"/>
                  </a:moveTo>
                  <a:cubicBezTo>
                    <a:pt x="151" y="60"/>
                    <a:pt x="142" y="37"/>
                    <a:pt x="122" y="29"/>
                  </a:cubicBezTo>
                  <a:lnTo>
                    <a:pt x="74" y="8"/>
                  </a:lnTo>
                  <a:cubicBezTo>
                    <a:pt x="55" y="0"/>
                    <a:pt x="32" y="9"/>
                    <a:pt x="24" y="29"/>
                  </a:cubicBezTo>
                  <a:lnTo>
                    <a:pt x="0" y="84"/>
                  </a:lnTo>
                  <a:lnTo>
                    <a:pt x="119" y="134"/>
                  </a:lnTo>
                  <a:lnTo>
                    <a:pt x="143"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Application">
              <a:extLst>
                <a:ext uri="{FF2B5EF4-FFF2-40B4-BE49-F238E27FC236}">
                  <a16:creationId xmlns:a16="http://schemas.microsoft.com/office/drawing/2014/main" id="{6F0FF204-E251-450A-AB71-15B62597D055}"/>
                </a:ext>
              </a:extLst>
            </p:cNvPr>
            <p:cNvSpPr>
              <a:spLocks/>
            </p:cNvSpPr>
            <p:nvPr>
              <p:custDataLst>
                <p:tags r:id="rId8"/>
              </p:custDataLst>
            </p:nvPr>
          </p:nvSpPr>
          <p:spPr bwMode="auto">
            <a:xfrm>
              <a:off x="183" y="97"/>
              <a:ext cx="57" cy="47"/>
            </a:xfrm>
            <a:custGeom>
              <a:avLst/>
              <a:gdLst>
                <a:gd name="T0" fmla="*/ 31 w 150"/>
                <a:gd name="T1" fmla="*/ 0 h 124"/>
                <a:gd name="T2" fmla="*/ 150 w 150"/>
                <a:gd name="T3" fmla="*/ 51 h 124"/>
                <a:gd name="T4" fmla="*/ 119 w 150"/>
                <a:gd name="T5" fmla="*/ 124 h 124"/>
                <a:gd name="T6" fmla="*/ 0 w 150"/>
                <a:gd name="T7" fmla="*/ 73 h 124"/>
                <a:gd name="T8" fmla="*/ 31 w 150"/>
                <a:gd name="T9" fmla="*/ 0 h 124"/>
              </a:gdLst>
              <a:ahLst/>
              <a:cxnLst>
                <a:cxn ang="0">
                  <a:pos x="T0" y="T1"/>
                </a:cxn>
                <a:cxn ang="0">
                  <a:pos x="T2" y="T3"/>
                </a:cxn>
                <a:cxn ang="0">
                  <a:pos x="T4" y="T5"/>
                </a:cxn>
                <a:cxn ang="0">
                  <a:pos x="T6" y="T7"/>
                </a:cxn>
                <a:cxn ang="0">
                  <a:pos x="T8" y="T9"/>
                </a:cxn>
              </a:cxnLst>
              <a:rect l="0" t="0" r="r" b="b"/>
              <a:pathLst>
                <a:path w="150" h="124">
                  <a:moveTo>
                    <a:pt x="31" y="0"/>
                  </a:moveTo>
                  <a:lnTo>
                    <a:pt x="150" y="51"/>
                  </a:lnTo>
                  <a:lnTo>
                    <a:pt x="119" y="124"/>
                  </a:lnTo>
                  <a:lnTo>
                    <a:pt x="0" y="7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Application">
              <a:extLst>
                <a:ext uri="{FF2B5EF4-FFF2-40B4-BE49-F238E27FC236}">
                  <a16:creationId xmlns:a16="http://schemas.microsoft.com/office/drawing/2014/main" id="{36B179DE-725B-46A3-9607-C011B4DCA742}"/>
                </a:ext>
              </a:extLst>
            </p:cNvPr>
            <p:cNvSpPr>
              <a:spLocks/>
            </p:cNvSpPr>
            <p:nvPr>
              <p:custDataLst>
                <p:tags r:id="rId9"/>
              </p:custDataLst>
            </p:nvPr>
          </p:nvSpPr>
          <p:spPr bwMode="auto">
            <a:xfrm>
              <a:off x="57" y="456"/>
              <a:ext cx="20" cy="23"/>
            </a:xfrm>
            <a:custGeom>
              <a:avLst/>
              <a:gdLst>
                <a:gd name="T0" fmla="*/ 5 w 52"/>
                <a:gd name="T1" fmla="*/ 61 h 61"/>
                <a:gd name="T2" fmla="*/ 52 w 52"/>
                <a:gd name="T3" fmla="*/ 22 h 61"/>
                <a:gd name="T4" fmla="*/ 0 w 52"/>
                <a:gd name="T5" fmla="*/ 0 h 61"/>
                <a:gd name="T6" fmla="*/ 5 w 52"/>
                <a:gd name="T7" fmla="*/ 61 h 61"/>
              </a:gdLst>
              <a:ahLst/>
              <a:cxnLst>
                <a:cxn ang="0">
                  <a:pos x="T0" y="T1"/>
                </a:cxn>
                <a:cxn ang="0">
                  <a:pos x="T2" y="T3"/>
                </a:cxn>
                <a:cxn ang="0">
                  <a:pos x="T4" y="T5"/>
                </a:cxn>
                <a:cxn ang="0">
                  <a:pos x="T6" y="T7"/>
                </a:cxn>
              </a:cxnLst>
              <a:rect l="0" t="0" r="r" b="b"/>
              <a:pathLst>
                <a:path w="52" h="61">
                  <a:moveTo>
                    <a:pt x="5" y="61"/>
                  </a:moveTo>
                  <a:lnTo>
                    <a:pt x="52" y="22"/>
                  </a:lnTo>
                  <a:lnTo>
                    <a:pt x="0" y="0"/>
                  </a:lnTo>
                  <a:lnTo>
                    <a:pt x="5" y="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6" name="TextBox 45">
            <a:extLst>
              <a:ext uri="{FF2B5EF4-FFF2-40B4-BE49-F238E27FC236}">
                <a16:creationId xmlns:a16="http://schemas.microsoft.com/office/drawing/2014/main" id="{396D7EFB-C1C9-40FF-BF72-2A53BA1DF974}"/>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8479767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1018A95-7A36-44A6-8A0A-5A485AA1C153}"/>
              </a:ext>
            </a:extLst>
          </p:cNvPr>
          <p:cNvSpPr>
            <a:spLocks noGrp="1"/>
          </p:cNvSpPr>
          <p:nvPr>
            <p:ph type="sldNum" sz="quarter" idx="10"/>
          </p:nvPr>
        </p:nvSpPr>
        <p:spPr/>
        <p:txBody>
          <a:bodyPr/>
          <a:lstStyle/>
          <a:p>
            <a:fld id="{3787542D-5C6B-4EB3-96EB-9B37C3D5D2F8}" type="slidenum">
              <a:rPr lang="en-GB" smtClean="0"/>
              <a:t>3</a:t>
            </a:fld>
            <a:endParaRPr lang="en-GB" dirty="0"/>
          </a:p>
        </p:txBody>
      </p:sp>
      <p:sp>
        <p:nvSpPr>
          <p:cNvPr id="9" name="Text Placeholder 8">
            <a:extLst>
              <a:ext uri="{FF2B5EF4-FFF2-40B4-BE49-F238E27FC236}">
                <a16:creationId xmlns:a16="http://schemas.microsoft.com/office/drawing/2014/main" id="{158B8067-C1E0-4D9D-882C-D0E64D18B1CE}"/>
              </a:ext>
            </a:extLst>
          </p:cNvPr>
          <p:cNvSpPr>
            <a:spLocks noGrp="1"/>
          </p:cNvSpPr>
          <p:nvPr>
            <p:ph type="body" sz="quarter" idx="17"/>
          </p:nvPr>
        </p:nvSpPr>
        <p:spPr/>
        <p:txBody>
          <a:bodyPr/>
          <a:lstStyle/>
          <a:p>
            <a:r>
              <a:rPr lang="en-GB" dirty="0"/>
              <a:t>72</a:t>
            </a:r>
            <a:r>
              <a:rPr lang="en-GB" baseline="30000" dirty="0"/>
              <a:t>%</a:t>
            </a:r>
          </a:p>
        </p:txBody>
      </p:sp>
      <p:sp>
        <p:nvSpPr>
          <p:cNvPr id="10" name="Text Placeholder 9">
            <a:extLst>
              <a:ext uri="{FF2B5EF4-FFF2-40B4-BE49-F238E27FC236}">
                <a16:creationId xmlns:a16="http://schemas.microsoft.com/office/drawing/2014/main" id="{BDD0F73D-4DF7-4F6C-AB64-71C25549D944}"/>
              </a:ext>
            </a:extLst>
          </p:cNvPr>
          <p:cNvSpPr>
            <a:spLocks noGrp="1"/>
          </p:cNvSpPr>
          <p:nvPr>
            <p:ph type="body" sz="quarter" idx="21"/>
          </p:nvPr>
        </p:nvSpPr>
        <p:spPr/>
        <p:txBody>
          <a:bodyPr/>
          <a:lstStyle/>
          <a:p>
            <a:r>
              <a:rPr lang="en-GB" dirty="0"/>
              <a:t>Magazine media reaches 72% of adults in the UK.</a:t>
            </a:r>
          </a:p>
          <a:p>
            <a:r>
              <a:rPr lang="en-GB" dirty="0"/>
              <a:t>11% are reading more since the first lock down to relieve boredom.</a:t>
            </a:r>
          </a:p>
        </p:txBody>
      </p:sp>
      <p:sp>
        <p:nvSpPr>
          <p:cNvPr id="7" name="Title 6">
            <a:extLst>
              <a:ext uri="{FF2B5EF4-FFF2-40B4-BE49-F238E27FC236}">
                <a16:creationId xmlns:a16="http://schemas.microsoft.com/office/drawing/2014/main" id="{6CC4BBD5-465C-4DDD-AA2A-9AEE87504496}"/>
              </a:ext>
            </a:extLst>
          </p:cNvPr>
          <p:cNvSpPr>
            <a:spLocks noGrp="1"/>
          </p:cNvSpPr>
          <p:nvPr>
            <p:ph type="title"/>
          </p:nvPr>
        </p:nvSpPr>
        <p:spPr/>
        <p:txBody>
          <a:bodyPr/>
          <a:lstStyle/>
          <a:p>
            <a:r>
              <a:rPr lang="en-GB" dirty="0"/>
              <a:t>Magazines are alive and well in the </a:t>
            </a:r>
            <a:r>
              <a:rPr lang="en-GB" dirty="0" err="1"/>
              <a:t>uk</a:t>
            </a:r>
            <a:endParaRPr lang="en-GB" dirty="0"/>
          </a:p>
        </p:txBody>
      </p:sp>
      <p:sp>
        <p:nvSpPr>
          <p:cNvPr id="11" name="Text Placeholder 10">
            <a:extLst>
              <a:ext uri="{FF2B5EF4-FFF2-40B4-BE49-F238E27FC236}">
                <a16:creationId xmlns:a16="http://schemas.microsoft.com/office/drawing/2014/main" id="{C1943322-A08E-4485-B9DA-27366D30127F}"/>
              </a:ext>
            </a:extLst>
          </p:cNvPr>
          <p:cNvSpPr>
            <a:spLocks noGrp="1"/>
          </p:cNvSpPr>
          <p:nvPr>
            <p:ph type="body" sz="quarter" idx="22"/>
          </p:nvPr>
        </p:nvSpPr>
        <p:spPr/>
        <p:txBody>
          <a:bodyPr/>
          <a:lstStyle/>
          <a:p>
            <a:r>
              <a:rPr lang="en-GB" dirty="0"/>
              <a:t>73</a:t>
            </a:r>
            <a:r>
              <a:rPr lang="en-GB" baseline="30000" dirty="0"/>
              <a:t>%</a:t>
            </a:r>
          </a:p>
        </p:txBody>
      </p:sp>
      <p:sp>
        <p:nvSpPr>
          <p:cNvPr id="12" name="Text Placeholder 11">
            <a:extLst>
              <a:ext uri="{FF2B5EF4-FFF2-40B4-BE49-F238E27FC236}">
                <a16:creationId xmlns:a16="http://schemas.microsoft.com/office/drawing/2014/main" id="{1776C1FC-BCF1-48CE-B8D7-CE41E5599C07}"/>
              </a:ext>
            </a:extLst>
          </p:cNvPr>
          <p:cNvSpPr>
            <a:spLocks noGrp="1"/>
          </p:cNvSpPr>
          <p:nvPr>
            <p:ph type="body" sz="quarter" idx="23"/>
          </p:nvPr>
        </p:nvSpPr>
        <p:spPr/>
        <p:txBody>
          <a:bodyPr/>
          <a:lstStyle/>
          <a:p>
            <a:r>
              <a:rPr lang="en-GB" dirty="0"/>
              <a:t>According to </a:t>
            </a:r>
            <a:r>
              <a:rPr lang="en-GB" dirty="0" err="1"/>
              <a:t>PAMCo</a:t>
            </a:r>
            <a:r>
              <a:rPr lang="en-GB" dirty="0"/>
              <a:t> 73% of readers think that reading magazines is time well spent and 2 in 3 trust what they read.</a:t>
            </a:r>
          </a:p>
          <a:p>
            <a:r>
              <a:rPr lang="en-GB" dirty="0"/>
              <a:t>31% have a closer relationship with magazine brands since lock down.</a:t>
            </a:r>
          </a:p>
        </p:txBody>
      </p:sp>
      <p:sp>
        <p:nvSpPr>
          <p:cNvPr id="13" name="Text Placeholder 12">
            <a:extLst>
              <a:ext uri="{FF2B5EF4-FFF2-40B4-BE49-F238E27FC236}">
                <a16:creationId xmlns:a16="http://schemas.microsoft.com/office/drawing/2014/main" id="{B1DB183D-5227-47D2-9675-B98EC7600785}"/>
              </a:ext>
            </a:extLst>
          </p:cNvPr>
          <p:cNvSpPr>
            <a:spLocks noGrp="1"/>
          </p:cNvSpPr>
          <p:nvPr>
            <p:ph type="body" sz="quarter" idx="24"/>
          </p:nvPr>
        </p:nvSpPr>
        <p:spPr/>
        <p:txBody>
          <a:bodyPr/>
          <a:lstStyle/>
          <a:p>
            <a:r>
              <a:rPr lang="en-GB" dirty="0"/>
              <a:t>75</a:t>
            </a:r>
            <a:r>
              <a:rPr lang="en-GB" baseline="30000" dirty="0"/>
              <a:t>%</a:t>
            </a:r>
          </a:p>
        </p:txBody>
      </p:sp>
      <p:sp>
        <p:nvSpPr>
          <p:cNvPr id="14" name="Text Placeholder 13">
            <a:extLst>
              <a:ext uri="{FF2B5EF4-FFF2-40B4-BE49-F238E27FC236}">
                <a16:creationId xmlns:a16="http://schemas.microsoft.com/office/drawing/2014/main" id="{DB4D87F1-A551-4F83-97E2-3FC8435A310D}"/>
              </a:ext>
            </a:extLst>
          </p:cNvPr>
          <p:cNvSpPr>
            <a:spLocks noGrp="1"/>
          </p:cNvSpPr>
          <p:nvPr>
            <p:ph type="body" sz="quarter" idx="25"/>
          </p:nvPr>
        </p:nvSpPr>
        <p:spPr/>
        <p:txBody>
          <a:bodyPr/>
          <a:lstStyle/>
          <a:p>
            <a:r>
              <a:rPr lang="en-GB" dirty="0"/>
              <a:t>Latest research from Bauer shows that magazine reading is on the rise.  In a backlash to the increase in screen usage over the pandemic.</a:t>
            </a:r>
          </a:p>
          <a:p>
            <a:r>
              <a:rPr lang="en-GB" dirty="0"/>
              <a:t>75% of people find reading magazines relaxing.</a:t>
            </a:r>
          </a:p>
        </p:txBody>
      </p:sp>
      <p:sp>
        <p:nvSpPr>
          <p:cNvPr id="15" name="Common_ground" descr="{&quot;Key&quot;:&quot;POWER_USER_SHAPE_ICON&quot;,&quot;Value&quot;:&quot;POWER_USER_SHAPE_ICON_STYLE_1&quot;}">
            <a:extLst>
              <a:ext uri="{FF2B5EF4-FFF2-40B4-BE49-F238E27FC236}">
                <a16:creationId xmlns:a16="http://schemas.microsoft.com/office/drawing/2014/main" id="{2C8F3E15-4023-4E0A-9FCB-680770342A05}"/>
              </a:ext>
            </a:extLst>
          </p:cNvPr>
          <p:cNvSpPr>
            <a:spLocks noChangeAspect="1" noEditPoints="1"/>
          </p:cNvSpPr>
          <p:nvPr>
            <p:custDataLst>
              <p:tags r:id="rId1"/>
            </p:custDataLst>
          </p:nvPr>
        </p:nvSpPr>
        <p:spPr bwMode="auto">
          <a:xfrm>
            <a:off x="2756194" y="2198704"/>
            <a:ext cx="1121429" cy="961826"/>
          </a:xfrm>
          <a:custGeom>
            <a:avLst/>
            <a:gdLst>
              <a:gd name="T0" fmla="*/ 617 w 1112"/>
              <a:gd name="T1" fmla="*/ 412 h 954"/>
              <a:gd name="T2" fmla="*/ 625 w 1112"/>
              <a:gd name="T3" fmla="*/ 482 h 954"/>
              <a:gd name="T4" fmla="*/ 561 w 1112"/>
              <a:gd name="T5" fmla="*/ 453 h 954"/>
              <a:gd name="T6" fmla="*/ 501 w 1112"/>
              <a:gd name="T7" fmla="*/ 484 h 954"/>
              <a:gd name="T8" fmla="*/ 494 w 1112"/>
              <a:gd name="T9" fmla="*/ 475 h 954"/>
              <a:gd name="T10" fmla="*/ 459 w 1112"/>
              <a:gd name="T11" fmla="*/ 368 h 954"/>
              <a:gd name="T12" fmla="*/ 463 w 1112"/>
              <a:gd name="T13" fmla="*/ 355 h 954"/>
              <a:gd name="T14" fmla="*/ 554 w 1112"/>
              <a:gd name="T15" fmla="*/ 289 h 954"/>
              <a:gd name="T16" fmla="*/ 595 w 1112"/>
              <a:gd name="T17" fmla="*/ 346 h 954"/>
              <a:gd name="T18" fmla="*/ 665 w 1112"/>
              <a:gd name="T19" fmla="*/ 360 h 954"/>
              <a:gd name="T20" fmla="*/ 1049 w 1112"/>
              <a:gd name="T21" fmla="*/ 459 h 954"/>
              <a:gd name="T22" fmla="*/ 713 w 1112"/>
              <a:gd name="T23" fmla="*/ 103 h 954"/>
              <a:gd name="T24" fmla="*/ 415 w 1112"/>
              <a:gd name="T25" fmla="*/ 586 h 954"/>
              <a:gd name="T26" fmla="*/ 346 w 1112"/>
              <a:gd name="T27" fmla="*/ 794 h 954"/>
              <a:gd name="T28" fmla="*/ 300 w 1112"/>
              <a:gd name="T29" fmla="*/ 709 h 954"/>
              <a:gd name="T30" fmla="*/ 183 w 1112"/>
              <a:gd name="T31" fmla="*/ 697 h 954"/>
              <a:gd name="T32" fmla="*/ 123 w 1112"/>
              <a:gd name="T33" fmla="*/ 614 h 954"/>
              <a:gd name="T34" fmla="*/ 119 w 1112"/>
              <a:gd name="T35" fmla="*/ 584 h 954"/>
              <a:gd name="T36" fmla="*/ 108 w 1112"/>
              <a:gd name="T37" fmla="*/ 526 h 954"/>
              <a:gd name="T38" fmla="*/ 86 w 1112"/>
              <a:gd name="T39" fmla="*/ 489 h 954"/>
              <a:gd name="T40" fmla="*/ 64 w 1112"/>
              <a:gd name="T41" fmla="*/ 448 h 954"/>
              <a:gd name="T42" fmla="*/ 117 w 1112"/>
              <a:gd name="T43" fmla="*/ 360 h 954"/>
              <a:gd name="T44" fmla="*/ 399 w 1112"/>
              <a:gd name="T45" fmla="*/ 54 h 954"/>
              <a:gd name="T46" fmla="*/ 615 w 1112"/>
              <a:gd name="T47" fmla="*/ 72 h 954"/>
              <a:gd name="T48" fmla="*/ 141 w 1112"/>
              <a:gd name="T49" fmla="*/ 110 h 954"/>
              <a:gd name="T50" fmla="*/ 21 w 1112"/>
              <a:gd name="T51" fmla="*/ 418 h 954"/>
              <a:gd name="T52" fmla="*/ 51 w 1112"/>
              <a:gd name="T53" fmla="*/ 535 h 954"/>
              <a:gd name="T54" fmla="*/ 89 w 1112"/>
              <a:gd name="T55" fmla="*/ 656 h 954"/>
              <a:gd name="T56" fmla="*/ 252 w 1112"/>
              <a:gd name="T57" fmla="*/ 743 h 954"/>
              <a:gd name="T58" fmla="*/ 357 w 1112"/>
              <a:gd name="T59" fmla="*/ 846 h 954"/>
              <a:gd name="T60" fmla="*/ 667 w 1112"/>
              <a:gd name="T61" fmla="*/ 684 h 954"/>
              <a:gd name="T62" fmla="*/ 737 w 1112"/>
              <a:gd name="T63" fmla="*/ 323 h 954"/>
              <a:gd name="T64" fmla="*/ 932 w 1112"/>
              <a:gd name="T65" fmla="*/ 248 h 954"/>
              <a:gd name="T66" fmla="*/ 1000 w 1112"/>
              <a:gd name="T67" fmla="*/ 481 h 954"/>
              <a:gd name="T68" fmla="*/ 1051 w 1112"/>
              <a:gd name="T69" fmla="*/ 579 h 954"/>
              <a:gd name="T70" fmla="*/ 1005 w 1112"/>
              <a:gd name="T71" fmla="*/ 605 h 954"/>
              <a:gd name="T72" fmla="*/ 1001 w 1112"/>
              <a:gd name="T73" fmla="*/ 657 h 954"/>
              <a:gd name="T74" fmla="*/ 998 w 1112"/>
              <a:gd name="T75" fmla="*/ 702 h 954"/>
              <a:gd name="T76" fmla="*/ 970 w 1112"/>
              <a:gd name="T77" fmla="*/ 758 h 954"/>
              <a:gd name="T78" fmla="*/ 841 w 1112"/>
              <a:gd name="T79" fmla="*/ 791 h 954"/>
              <a:gd name="T80" fmla="*/ 802 w 1112"/>
              <a:gd name="T81" fmla="*/ 867 h 954"/>
              <a:gd name="T82" fmla="*/ 546 w 1112"/>
              <a:gd name="T83" fmla="*/ 848 h 954"/>
              <a:gd name="T84" fmla="*/ 518 w 1112"/>
              <a:gd name="T85" fmla="*/ 896 h 954"/>
              <a:gd name="T86" fmla="*/ 854 w 1112"/>
              <a:gd name="T87" fmla="*/ 875 h 954"/>
              <a:gd name="T88" fmla="*/ 928 w 1112"/>
              <a:gd name="T89" fmla="*/ 853 h 954"/>
              <a:gd name="T90" fmla="*/ 1048 w 1112"/>
              <a:gd name="T91" fmla="*/ 683 h 954"/>
              <a:gd name="T92" fmla="*/ 1099 w 1112"/>
              <a:gd name="T93" fmla="*/ 604 h 954"/>
              <a:gd name="T94" fmla="*/ 1049 w 1112"/>
              <a:gd name="T95" fmla="*/ 459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12" h="954">
                <a:moveTo>
                  <a:pt x="663" y="368"/>
                </a:moveTo>
                <a:lnTo>
                  <a:pt x="617" y="412"/>
                </a:lnTo>
                <a:lnTo>
                  <a:pt x="628" y="475"/>
                </a:lnTo>
                <a:cubicBezTo>
                  <a:pt x="629" y="478"/>
                  <a:pt x="628" y="481"/>
                  <a:pt x="625" y="482"/>
                </a:cubicBezTo>
                <a:cubicBezTo>
                  <a:pt x="623" y="484"/>
                  <a:pt x="620" y="484"/>
                  <a:pt x="618" y="483"/>
                </a:cubicBezTo>
                <a:lnTo>
                  <a:pt x="561" y="453"/>
                </a:lnTo>
                <a:lnTo>
                  <a:pt x="504" y="483"/>
                </a:lnTo>
                <a:cubicBezTo>
                  <a:pt x="503" y="484"/>
                  <a:pt x="502" y="484"/>
                  <a:pt x="501" y="484"/>
                </a:cubicBezTo>
                <a:cubicBezTo>
                  <a:pt x="499" y="484"/>
                  <a:pt x="498" y="483"/>
                  <a:pt x="497" y="482"/>
                </a:cubicBezTo>
                <a:cubicBezTo>
                  <a:pt x="494" y="481"/>
                  <a:pt x="493" y="478"/>
                  <a:pt x="494" y="475"/>
                </a:cubicBezTo>
                <a:lnTo>
                  <a:pt x="505" y="412"/>
                </a:lnTo>
                <a:lnTo>
                  <a:pt x="459" y="368"/>
                </a:lnTo>
                <a:cubicBezTo>
                  <a:pt x="457" y="366"/>
                  <a:pt x="456" y="363"/>
                  <a:pt x="457" y="360"/>
                </a:cubicBezTo>
                <a:cubicBezTo>
                  <a:pt x="458" y="357"/>
                  <a:pt x="460" y="356"/>
                  <a:pt x="463" y="355"/>
                </a:cubicBezTo>
                <a:lnTo>
                  <a:pt x="527" y="346"/>
                </a:lnTo>
                <a:lnTo>
                  <a:pt x="554" y="289"/>
                </a:lnTo>
                <a:cubicBezTo>
                  <a:pt x="557" y="284"/>
                  <a:pt x="565" y="283"/>
                  <a:pt x="568" y="289"/>
                </a:cubicBezTo>
                <a:lnTo>
                  <a:pt x="595" y="346"/>
                </a:lnTo>
                <a:lnTo>
                  <a:pt x="659" y="355"/>
                </a:lnTo>
                <a:cubicBezTo>
                  <a:pt x="662" y="356"/>
                  <a:pt x="664" y="357"/>
                  <a:pt x="665" y="360"/>
                </a:cubicBezTo>
                <a:cubicBezTo>
                  <a:pt x="666" y="363"/>
                  <a:pt x="665" y="366"/>
                  <a:pt x="663" y="368"/>
                </a:cubicBezTo>
                <a:close/>
                <a:moveTo>
                  <a:pt x="1049" y="459"/>
                </a:moveTo>
                <a:cubicBezTo>
                  <a:pt x="1057" y="363"/>
                  <a:pt x="1030" y="278"/>
                  <a:pt x="971" y="213"/>
                </a:cubicBezTo>
                <a:cubicBezTo>
                  <a:pt x="909" y="143"/>
                  <a:pt x="815" y="104"/>
                  <a:pt x="713" y="103"/>
                </a:cubicBezTo>
                <a:cubicBezTo>
                  <a:pt x="557" y="103"/>
                  <a:pt x="379" y="205"/>
                  <a:pt x="375" y="426"/>
                </a:cubicBezTo>
                <a:cubicBezTo>
                  <a:pt x="374" y="482"/>
                  <a:pt x="387" y="538"/>
                  <a:pt x="415" y="586"/>
                </a:cubicBezTo>
                <a:cubicBezTo>
                  <a:pt x="444" y="634"/>
                  <a:pt x="455" y="684"/>
                  <a:pt x="447" y="771"/>
                </a:cubicBezTo>
                <a:lnTo>
                  <a:pt x="346" y="794"/>
                </a:lnTo>
                <a:cubicBezTo>
                  <a:pt x="326" y="796"/>
                  <a:pt x="313" y="786"/>
                  <a:pt x="310" y="762"/>
                </a:cubicBezTo>
                <a:lnTo>
                  <a:pt x="300" y="709"/>
                </a:lnTo>
                <a:cubicBezTo>
                  <a:pt x="297" y="697"/>
                  <a:pt x="286" y="688"/>
                  <a:pt x="273" y="688"/>
                </a:cubicBezTo>
                <a:lnTo>
                  <a:pt x="183" y="697"/>
                </a:lnTo>
                <a:cubicBezTo>
                  <a:pt x="153" y="697"/>
                  <a:pt x="142" y="685"/>
                  <a:pt x="142" y="655"/>
                </a:cubicBezTo>
                <a:cubicBezTo>
                  <a:pt x="142" y="634"/>
                  <a:pt x="131" y="623"/>
                  <a:pt x="123" y="614"/>
                </a:cubicBezTo>
                <a:cubicBezTo>
                  <a:pt x="114" y="606"/>
                  <a:pt x="113" y="603"/>
                  <a:pt x="114" y="599"/>
                </a:cubicBezTo>
                <a:cubicBezTo>
                  <a:pt x="115" y="594"/>
                  <a:pt x="117" y="588"/>
                  <a:pt x="119" y="584"/>
                </a:cubicBezTo>
                <a:cubicBezTo>
                  <a:pt x="123" y="573"/>
                  <a:pt x="120" y="561"/>
                  <a:pt x="111" y="553"/>
                </a:cubicBezTo>
                <a:cubicBezTo>
                  <a:pt x="104" y="547"/>
                  <a:pt x="101" y="541"/>
                  <a:pt x="108" y="526"/>
                </a:cubicBezTo>
                <a:cubicBezTo>
                  <a:pt x="112" y="519"/>
                  <a:pt x="111" y="510"/>
                  <a:pt x="107" y="502"/>
                </a:cubicBezTo>
                <a:cubicBezTo>
                  <a:pt x="103" y="495"/>
                  <a:pt x="95" y="490"/>
                  <a:pt x="86" y="489"/>
                </a:cubicBezTo>
                <a:cubicBezTo>
                  <a:pt x="70" y="487"/>
                  <a:pt x="63" y="481"/>
                  <a:pt x="61" y="476"/>
                </a:cubicBezTo>
                <a:cubicBezTo>
                  <a:pt x="57" y="468"/>
                  <a:pt x="58" y="457"/>
                  <a:pt x="64" y="448"/>
                </a:cubicBezTo>
                <a:cubicBezTo>
                  <a:pt x="74" y="434"/>
                  <a:pt x="95" y="403"/>
                  <a:pt x="112" y="378"/>
                </a:cubicBezTo>
                <a:cubicBezTo>
                  <a:pt x="116" y="373"/>
                  <a:pt x="117" y="366"/>
                  <a:pt x="117" y="360"/>
                </a:cubicBezTo>
                <a:cubicBezTo>
                  <a:pt x="108" y="276"/>
                  <a:pt x="130" y="201"/>
                  <a:pt x="180" y="145"/>
                </a:cubicBezTo>
                <a:cubicBezTo>
                  <a:pt x="233" y="87"/>
                  <a:pt x="313" y="54"/>
                  <a:pt x="399" y="54"/>
                </a:cubicBezTo>
                <a:cubicBezTo>
                  <a:pt x="454" y="54"/>
                  <a:pt x="505" y="67"/>
                  <a:pt x="549" y="91"/>
                </a:cubicBezTo>
                <a:cubicBezTo>
                  <a:pt x="567" y="84"/>
                  <a:pt x="589" y="78"/>
                  <a:pt x="615" y="72"/>
                </a:cubicBezTo>
                <a:cubicBezTo>
                  <a:pt x="556" y="26"/>
                  <a:pt x="480" y="0"/>
                  <a:pt x="399" y="0"/>
                </a:cubicBezTo>
                <a:cubicBezTo>
                  <a:pt x="297" y="0"/>
                  <a:pt x="203" y="40"/>
                  <a:pt x="141" y="110"/>
                </a:cubicBezTo>
                <a:cubicBezTo>
                  <a:pt x="82" y="175"/>
                  <a:pt x="55" y="260"/>
                  <a:pt x="63" y="356"/>
                </a:cubicBezTo>
                <a:cubicBezTo>
                  <a:pt x="47" y="379"/>
                  <a:pt x="30" y="405"/>
                  <a:pt x="21" y="418"/>
                </a:cubicBezTo>
                <a:cubicBezTo>
                  <a:pt x="3" y="443"/>
                  <a:pt x="0" y="475"/>
                  <a:pt x="14" y="500"/>
                </a:cubicBezTo>
                <a:cubicBezTo>
                  <a:pt x="19" y="510"/>
                  <a:pt x="30" y="525"/>
                  <a:pt x="51" y="535"/>
                </a:cubicBezTo>
                <a:cubicBezTo>
                  <a:pt x="49" y="554"/>
                  <a:pt x="56" y="569"/>
                  <a:pt x="64" y="580"/>
                </a:cubicBezTo>
                <a:cubicBezTo>
                  <a:pt x="52" y="621"/>
                  <a:pt x="75" y="643"/>
                  <a:pt x="89" y="656"/>
                </a:cubicBezTo>
                <a:cubicBezTo>
                  <a:pt x="89" y="716"/>
                  <a:pt x="125" y="752"/>
                  <a:pt x="187" y="750"/>
                </a:cubicBezTo>
                <a:lnTo>
                  <a:pt x="252" y="743"/>
                </a:lnTo>
                <a:lnTo>
                  <a:pt x="257" y="771"/>
                </a:lnTo>
                <a:cubicBezTo>
                  <a:pt x="267" y="822"/>
                  <a:pt x="299" y="856"/>
                  <a:pt x="357" y="846"/>
                </a:cubicBezTo>
                <a:lnTo>
                  <a:pt x="594" y="793"/>
                </a:lnTo>
                <a:cubicBezTo>
                  <a:pt x="665" y="775"/>
                  <a:pt x="670" y="726"/>
                  <a:pt x="667" y="684"/>
                </a:cubicBezTo>
                <a:cubicBezTo>
                  <a:pt x="656" y="587"/>
                  <a:pt x="666" y="534"/>
                  <a:pt x="697" y="483"/>
                </a:cubicBezTo>
                <a:cubicBezTo>
                  <a:pt x="725" y="435"/>
                  <a:pt x="737" y="378"/>
                  <a:pt x="737" y="323"/>
                </a:cubicBezTo>
                <a:cubicBezTo>
                  <a:pt x="737" y="263"/>
                  <a:pt x="722" y="206"/>
                  <a:pt x="692" y="157"/>
                </a:cubicBezTo>
                <a:cubicBezTo>
                  <a:pt x="786" y="151"/>
                  <a:pt x="875" y="185"/>
                  <a:pt x="932" y="248"/>
                </a:cubicBezTo>
                <a:cubicBezTo>
                  <a:pt x="982" y="304"/>
                  <a:pt x="1004" y="379"/>
                  <a:pt x="995" y="463"/>
                </a:cubicBezTo>
                <a:cubicBezTo>
                  <a:pt x="995" y="469"/>
                  <a:pt x="996" y="476"/>
                  <a:pt x="1000" y="481"/>
                </a:cubicBezTo>
                <a:cubicBezTo>
                  <a:pt x="1017" y="506"/>
                  <a:pt x="1038" y="537"/>
                  <a:pt x="1048" y="551"/>
                </a:cubicBezTo>
                <a:cubicBezTo>
                  <a:pt x="1054" y="560"/>
                  <a:pt x="1055" y="571"/>
                  <a:pt x="1051" y="579"/>
                </a:cubicBezTo>
                <a:cubicBezTo>
                  <a:pt x="1049" y="584"/>
                  <a:pt x="1042" y="590"/>
                  <a:pt x="1026" y="592"/>
                </a:cubicBezTo>
                <a:cubicBezTo>
                  <a:pt x="1017" y="593"/>
                  <a:pt x="1009" y="598"/>
                  <a:pt x="1005" y="605"/>
                </a:cubicBezTo>
                <a:cubicBezTo>
                  <a:pt x="1001" y="613"/>
                  <a:pt x="1000" y="622"/>
                  <a:pt x="1004" y="630"/>
                </a:cubicBezTo>
                <a:cubicBezTo>
                  <a:pt x="1011" y="645"/>
                  <a:pt x="1008" y="650"/>
                  <a:pt x="1001" y="657"/>
                </a:cubicBezTo>
                <a:cubicBezTo>
                  <a:pt x="992" y="664"/>
                  <a:pt x="989" y="677"/>
                  <a:pt x="993" y="687"/>
                </a:cubicBezTo>
                <a:cubicBezTo>
                  <a:pt x="995" y="691"/>
                  <a:pt x="997" y="697"/>
                  <a:pt x="998" y="702"/>
                </a:cubicBezTo>
                <a:cubicBezTo>
                  <a:pt x="999" y="706"/>
                  <a:pt x="998" y="709"/>
                  <a:pt x="990" y="717"/>
                </a:cubicBezTo>
                <a:cubicBezTo>
                  <a:pt x="981" y="726"/>
                  <a:pt x="970" y="737"/>
                  <a:pt x="970" y="758"/>
                </a:cubicBezTo>
                <a:cubicBezTo>
                  <a:pt x="970" y="789"/>
                  <a:pt x="959" y="800"/>
                  <a:pt x="930" y="800"/>
                </a:cubicBezTo>
                <a:lnTo>
                  <a:pt x="841" y="791"/>
                </a:lnTo>
                <a:cubicBezTo>
                  <a:pt x="828" y="790"/>
                  <a:pt x="815" y="799"/>
                  <a:pt x="813" y="812"/>
                </a:cubicBezTo>
                <a:lnTo>
                  <a:pt x="802" y="867"/>
                </a:lnTo>
                <a:cubicBezTo>
                  <a:pt x="799" y="889"/>
                  <a:pt x="786" y="899"/>
                  <a:pt x="766" y="897"/>
                </a:cubicBezTo>
                <a:lnTo>
                  <a:pt x="546" y="848"/>
                </a:lnTo>
                <a:lnTo>
                  <a:pt x="464" y="866"/>
                </a:lnTo>
                <a:cubicBezTo>
                  <a:pt x="475" y="879"/>
                  <a:pt x="492" y="889"/>
                  <a:pt x="518" y="896"/>
                </a:cubicBezTo>
                <a:lnTo>
                  <a:pt x="756" y="949"/>
                </a:lnTo>
                <a:cubicBezTo>
                  <a:pt x="780" y="954"/>
                  <a:pt x="843" y="947"/>
                  <a:pt x="854" y="875"/>
                </a:cubicBezTo>
                <a:lnTo>
                  <a:pt x="860" y="846"/>
                </a:lnTo>
                <a:lnTo>
                  <a:pt x="928" y="853"/>
                </a:lnTo>
                <a:cubicBezTo>
                  <a:pt x="988" y="853"/>
                  <a:pt x="1023" y="819"/>
                  <a:pt x="1023" y="759"/>
                </a:cubicBezTo>
                <a:cubicBezTo>
                  <a:pt x="1045" y="740"/>
                  <a:pt x="1059" y="714"/>
                  <a:pt x="1048" y="683"/>
                </a:cubicBezTo>
                <a:cubicBezTo>
                  <a:pt x="1056" y="672"/>
                  <a:pt x="1063" y="657"/>
                  <a:pt x="1061" y="638"/>
                </a:cubicBezTo>
                <a:cubicBezTo>
                  <a:pt x="1082" y="629"/>
                  <a:pt x="1093" y="613"/>
                  <a:pt x="1099" y="604"/>
                </a:cubicBezTo>
                <a:cubicBezTo>
                  <a:pt x="1112" y="578"/>
                  <a:pt x="1109" y="546"/>
                  <a:pt x="1091" y="521"/>
                </a:cubicBezTo>
                <a:cubicBezTo>
                  <a:pt x="1083" y="508"/>
                  <a:pt x="1065" y="482"/>
                  <a:pt x="1049" y="459"/>
                </a:cubicBezTo>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effectLst/>
              <a:uLnTx/>
              <a:uFillTx/>
              <a:latin typeface="Calibri" panose="020F0502020204030204"/>
              <a:ea typeface="+mn-ea"/>
              <a:cs typeface="+mn-cs"/>
            </a:endParaRPr>
          </a:p>
        </p:txBody>
      </p:sp>
      <p:sp>
        <p:nvSpPr>
          <p:cNvPr id="17" name="Countdown" descr="{&quot;Key&quot;:&quot;POWER_USER_SHAPE_ICON&quot;,&quot;Value&quot;:&quot;POWER_USER_SHAPE_ICON_STYLE_1&quot;}">
            <a:extLst>
              <a:ext uri="{FF2B5EF4-FFF2-40B4-BE49-F238E27FC236}">
                <a16:creationId xmlns:a16="http://schemas.microsoft.com/office/drawing/2014/main" id="{825F9C81-FD30-40E3-875C-33D06B4F34EE}"/>
              </a:ext>
            </a:extLst>
          </p:cNvPr>
          <p:cNvSpPr>
            <a:spLocks noChangeAspect="1" noEditPoints="1"/>
          </p:cNvSpPr>
          <p:nvPr>
            <p:custDataLst>
              <p:tags r:id="rId2"/>
            </p:custDataLst>
          </p:nvPr>
        </p:nvSpPr>
        <p:spPr bwMode="auto">
          <a:xfrm>
            <a:off x="6629148" y="2144100"/>
            <a:ext cx="872702" cy="874387"/>
          </a:xfrm>
          <a:custGeom>
            <a:avLst/>
            <a:gdLst>
              <a:gd name="T0" fmla="*/ 698 w 783"/>
              <a:gd name="T1" fmla="*/ 366 h 783"/>
              <a:gd name="T2" fmla="*/ 416 w 783"/>
              <a:gd name="T3" fmla="*/ 84 h 783"/>
              <a:gd name="T4" fmla="*/ 416 w 783"/>
              <a:gd name="T5" fmla="*/ 51 h 783"/>
              <a:gd name="T6" fmla="*/ 732 w 783"/>
              <a:gd name="T7" fmla="*/ 366 h 783"/>
              <a:gd name="T8" fmla="*/ 698 w 783"/>
              <a:gd name="T9" fmla="*/ 366 h 783"/>
              <a:gd name="T10" fmla="*/ 416 w 783"/>
              <a:gd name="T11" fmla="*/ 732 h 783"/>
              <a:gd name="T12" fmla="*/ 416 w 783"/>
              <a:gd name="T13" fmla="*/ 698 h 783"/>
              <a:gd name="T14" fmla="*/ 698 w 783"/>
              <a:gd name="T15" fmla="*/ 416 h 783"/>
              <a:gd name="T16" fmla="*/ 732 w 783"/>
              <a:gd name="T17" fmla="*/ 416 h 783"/>
              <a:gd name="T18" fmla="*/ 416 w 783"/>
              <a:gd name="T19" fmla="*/ 732 h 783"/>
              <a:gd name="T20" fmla="*/ 416 w 783"/>
              <a:gd name="T21" fmla="*/ 418 h 783"/>
              <a:gd name="T22" fmla="*/ 567 w 783"/>
              <a:gd name="T23" fmla="*/ 580 h 783"/>
              <a:gd name="T24" fmla="*/ 416 w 783"/>
              <a:gd name="T25" fmla="*/ 648 h 783"/>
              <a:gd name="T26" fmla="*/ 416 w 783"/>
              <a:gd name="T27" fmla="*/ 418 h 783"/>
              <a:gd name="T28" fmla="*/ 366 w 783"/>
              <a:gd name="T29" fmla="*/ 84 h 783"/>
              <a:gd name="T30" fmla="*/ 84 w 783"/>
              <a:gd name="T31" fmla="*/ 366 h 783"/>
              <a:gd name="T32" fmla="*/ 51 w 783"/>
              <a:gd name="T33" fmla="*/ 366 h 783"/>
              <a:gd name="T34" fmla="*/ 366 w 783"/>
              <a:gd name="T35" fmla="*/ 51 h 783"/>
              <a:gd name="T36" fmla="*/ 366 w 783"/>
              <a:gd name="T37" fmla="*/ 84 h 783"/>
              <a:gd name="T38" fmla="*/ 366 w 783"/>
              <a:gd name="T39" fmla="*/ 366 h 783"/>
              <a:gd name="T40" fmla="*/ 134 w 783"/>
              <a:gd name="T41" fmla="*/ 366 h 783"/>
              <a:gd name="T42" fmla="*/ 366 w 783"/>
              <a:gd name="T43" fmla="*/ 134 h 783"/>
              <a:gd name="T44" fmla="*/ 366 w 783"/>
              <a:gd name="T45" fmla="*/ 366 h 783"/>
              <a:gd name="T46" fmla="*/ 366 w 783"/>
              <a:gd name="T47" fmla="*/ 648 h 783"/>
              <a:gd name="T48" fmla="*/ 134 w 783"/>
              <a:gd name="T49" fmla="*/ 416 h 783"/>
              <a:gd name="T50" fmla="*/ 366 w 783"/>
              <a:gd name="T51" fmla="*/ 416 h 783"/>
              <a:gd name="T52" fmla="*/ 366 w 783"/>
              <a:gd name="T53" fmla="*/ 648 h 783"/>
              <a:gd name="T54" fmla="*/ 366 w 783"/>
              <a:gd name="T55" fmla="*/ 732 h 783"/>
              <a:gd name="T56" fmla="*/ 51 w 783"/>
              <a:gd name="T57" fmla="*/ 416 h 783"/>
              <a:gd name="T58" fmla="*/ 84 w 783"/>
              <a:gd name="T59" fmla="*/ 416 h 783"/>
              <a:gd name="T60" fmla="*/ 366 w 783"/>
              <a:gd name="T61" fmla="*/ 698 h 783"/>
              <a:gd name="T62" fmla="*/ 366 w 783"/>
              <a:gd name="T63" fmla="*/ 732 h 783"/>
              <a:gd name="T64" fmla="*/ 391 w 783"/>
              <a:gd name="T65" fmla="*/ 0 h 783"/>
              <a:gd name="T66" fmla="*/ 0 w 783"/>
              <a:gd name="T67" fmla="*/ 391 h 783"/>
              <a:gd name="T68" fmla="*/ 391 w 783"/>
              <a:gd name="T69" fmla="*/ 783 h 783"/>
              <a:gd name="T70" fmla="*/ 783 w 783"/>
              <a:gd name="T71" fmla="*/ 391 h 783"/>
              <a:gd name="T72" fmla="*/ 391 w 783"/>
              <a:gd name="T73" fmla="*/ 0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83" h="783">
                <a:moveTo>
                  <a:pt x="698" y="366"/>
                </a:moveTo>
                <a:cubicBezTo>
                  <a:pt x="686" y="216"/>
                  <a:pt x="566" y="96"/>
                  <a:pt x="416" y="84"/>
                </a:cubicBezTo>
                <a:lnTo>
                  <a:pt x="416" y="51"/>
                </a:lnTo>
                <a:cubicBezTo>
                  <a:pt x="585" y="63"/>
                  <a:pt x="719" y="198"/>
                  <a:pt x="732" y="366"/>
                </a:cubicBezTo>
                <a:lnTo>
                  <a:pt x="698" y="366"/>
                </a:lnTo>
                <a:close/>
                <a:moveTo>
                  <a:pt x="416" y="732"/>
                </a:moveTo>
                <a:lnTo>
                  <a:pt x="416" y="698"/>
                </a:lnTo>
                <a:cubicBezTo>
                  <a:pt x="566" y="686"/>
                  <a:pt x="686" y="566"/>
                  <a:pt x="698" y="416"/>
                </a:cubicBezTo>
                <a:lnTo>
                  <a:pt x="732" y="416"/>
                </a:lnTo>
                <a:cubicBezTo>
                  <a:pt x="719" y="585"/>
                  <a:pt x="585" y="719"/>
                  <a:pt x="416" y="732"/>
                </a:cubicBezTo>
                <a:close/>
                <a:moveTo>
                  <a:pt x="416" y="418"/>
                </a:moveTo>
                <a:lnTo>
                  <a:pt x="567" y="580"/>
                </a:lnTo>
                <a:cubicBezTo>
                  <a:pt x="527" y="618"/>
                  <a:pt x="474" y="643"/>
                  <a:pt x="416" y="648"/>
                </a:cubicBezTo>
                <a:lnTo>
                  <a:pt x="416" y="418"/>
                </a:lnTo>
                <a:close/>
                <a:moveTo>
                  <a:pt x="366" y="84"/>
                </a:moveTo>
                <a:cubicBezTo>
                  <a:pt x="216" y="96"/>
                  <a:pt x="96" y="216"/>
                  <a:pt x="84" y="366"/>
                </a:cubicBezTo>
                <a:lnTo>
                  <a:pt x="51" y="366"/>
                </a:lnTo>
                <a:cubicBezTo>
                  <a:pt x="63" y="198"/>
                  <a:pt x="198" y="63"/>
                  <a:pt x="366" y="51"/>
                </a:cubicBezTo>
                <a:lnTo>
                  <a:pt x="366" y="84"/>
                </a:lnTo>
                <a:close/>
                <a:moveTo>
                  <a:pt x="366" y="366"/>
                </a:moveTo>
                <a:lnTo>
                  <a:pt x="134" y="366"/>
                </a:lnTo>
                <a:cubicBezTo>
                  <a:pt x="146" y="244"/>
                  <a:pt x="244" y="146"/>
                  <a:pt x="366" y="134"/>
                </a:cubicBezTo>
                <a:lnTo>
                  <a:pt x="366" y="366"/>
                </a:lnTo>
                <a:close/>
                <a:moveTo>
                  <a:pt x="366" y="648"/>
                </a:moveTo>
                <a:cubicBezTo>
                  <a:pt x="244" y="637"/>
                  <a:pt x="146" y="539"/>
                  <a:pt x="134" y="416"/>
                </a:cubicBezTo>
                <a:lnTo>
                  <a:pt x="366" y="416"/>
                </a:lnTo>
                <a:lnTo>
                  <a:pt x="366" y="648"/>
                </a:lnTo>
                <a:close/>
                <a:moveTo>
                  <a:pt x="366" y="732"/>
                </a:moveTo>
                <a:cubicBezTo>
                  <a:pt x="198" y="719"/>
                  <a:pt x="63" y="585"/>
                  <a:pt x="51" y="416"/>
                </a:cubicBezTo>
                <a:lnTo>
                  <a:pt x="84" y="416"/>
                </a:lnTo>
                <a:cubicBezTo>
                  <a:pt x="96" y="566"/>
                  <a:pt x="216" y="686"/>
                  <a:pt x="366" y="698"/>
                </a:cubicBezTo>
                <a:lnTo>
                  <a:pt x="366" y="732"/>
                </a:lnTo>
                <a:close/>
                <a:moveTo>
                  <a:pt x="391" y="0"/>
                </a:moveTo>
                <a:cubicBezTo>
                  <a:pt x="175" y="0"/>
                  <a:pt x="0" y="175"/>
                  <a:pt x="0" y="391"/>
                </a:cubicBezTo>
                <a:cubicBezTo>
                  <a:pt x="0" y="607"/>
                  <a:pt x="175" y="783"/>
                  <a:pt x="391" y="783"/>
                </a:cubicBezTo>
                <a:cubicBezTo>
                  <a:pt x="607" y="783"/>
                  <a:pt x="783" y="607"/>
                  <a:pt x="783" y="391"/>
                </a:cubicBezTo>
                <a:cubicBezTo>
                  <a:pt x="783" y="175"/>
                  <a:pt x="607" y="0"/>
                  <a:pt x="39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Calibri" panose="020F0502020204030204"/>
              <a:ea typeface="+mn-ea"/>
              <a:cs typeface="+mn-cs"/>
            </a:endParaRPr>
          </a:p>
        </p:txBody>
      </p:sp>
      <p:pic>
        <p:nvPicPr>
          <p:cNvPr id="20" name="Graphic 19" descr="Tropical scene">
            <a:extLst>
              <a:ext uri="{FF2B5EF4-FFF2-40B4-BE49-F238E27FC236}">
                <a16:creationId xmlns:a16="http://schemas.microsoft.com/office/drawing/2014/main" id="{CAC69B30-ECF9-4721-8336-BC75AB74F63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833610" y="2113061"/>
            <a:ext cx="914400" cy="914400"/>
          </a:xfrm>
          <a:prstGeom prst="rect">
            <a:avLst/>
          </a:prstGeom>
        </p:spPr>
      </p:pic>
      <p:sp>
        <p:nvSpPr>
          <p:cNvPr id="21" name="TextBox 20">
            <a:extLst>
              <a:ext uri="{FF2B5EF4-FFF2-40B4-BE49-F238E27FC236}">
                <a16:creationId xmlns:a16="http://schemas.microsoft.com/office/drawing/2014/main" id="{437A93AE-83A4-48D5-AD29-E813C35D1D6E}"/>
              </a:ext>
            </a:extLst>
          </p:cNvPr>
          <p:cNvSpPr txBox="1"/>
          <p:nvPr/>
        </p:nvSpPr>
        <p:spPr>
          <a:xfrm>
            <a:off x="8661857" y="6318674"/>
            <a:ext cx="2816797" cy="253916"/>
          </a:xfrm>
          <a:prstGeom prst="rect">
            <a:avLst/>
          </a:prstGeom>
          <a:noFill/>
        </p:spPr>
        <p:txBody>
          <a:bodyPr wrap="none" rtlCol="0">
            <a:spAutoFit/>
          </a:bodyPr>
          <a:lstStyle/>
          <a:p>
            <a:r>
              <a:rPr lang="en-GB" sz="1050" dirty="0"/>
              <a:t>Source:  Magnetic Media and Bauer Group 2021</a:t>
            </a:r>
          </a:p>
        </p:txBody>
      </p:sp>
    </p:spTree>
    <p:extLst>
      <p:ext uri="{BB962C8B-B14F-4D97-AF65-F5344CB8AC3E}">
        <p14:creationId xmlns:p14="http://schemas.microsoft.com/office/powerpoint/2010/main" val="6601962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577732B4-CAC3-49FF-8523-C65A0525EAAB}"/>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a:fillRect/>
          </a:stretch>
        </p:blipFill>
        <p:spPr/>
      </p:pic>
      <p:sp>
        <p:nvSpPr>
          <p:cNvPr id="3" name="Slide Number Placeholder 2">
            <a:extLst>
              <a:ext uri="{FF2B5EF4-FFF2-40B4-BE49-F238E27FC236}">
                <a16:creationId xmlns:a16="http://schemas.microsoft.com/office/drawing/2014/main" id="{33EE214C-783C-4535-8631-2A77BA9F2BEE}"/>
              </a:ext>
            </a:extLst>
          </p:cNvPr>
          <p:cNvSpPr>
            <a:spLocks noGrp="1"/>
          </p:cNvSpPr>
          <p:nvPr>
            <p:ph type="sldNum" sz="quarter" idx="15"/>
          </p:nvPr>
        </p:nvSpPr>
        <p:spPr/>
        <p:txBody>
          <a:bodyPr/>
          <a:lstStyle/>
          <a:p>
            <a:fld id="{3787542D-5C6B-4EB3-96EB-9B37C3D5D2F8}" type="slidenum">
              <a:rPr lang="en-GB" smtClean="0"/>
              <a:t>4</a:t>
            </a:fld>
            <a:endParaRPr lang="en-GB" dirty="0"/>
          </a:p>
        </p:txBody>
      </p:sp>
      <p:pic>
        <p:nvPicPr>
          <p:cNvPr id="9" name="Graphic 8" descr="Arrow circle">
            <a:extLst>
              <a:ext uri="{FF2B5EF4-FFF2-40B4-BE49-F238E27FC236}">
                <a16:creationId xmlns:a16="http://schemas.microsoft.com/office/drawing/2014/main" id="{674D9BEB-6015-41AE-B0AF-74FC47E752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87811" y="4547277"/>
            <a:ext cx="1781907" cy="1781907"/>
          </a:xfrm>
          <a:prstGeom prst="rect">
            <a:avLst/>
          </a:prstGeom>
        </p:spPr>
      </p:pic>
      <p:sp>
        <p:nvSpPr>
          <p:cNvPr id="10" name="TextBox 9">
            <a:extLst>
              <a:ext uri="{FF2B5EF4-FFF2-40B4-BE49-F238E27FC236}">
                <a16:creationId xmlns:a16="http://schemas.microsoft.com/office/drawing/2014/main" id="{0AD5C505-15AE-42C8-B312-BD56102494CC}"/>
              </a:ext>
            </a:extLst>
          </p:cNvPr>
          <p:cNvSpPr txBox="1"/>
          <p:nvPr/>
        </p:nvSpPr>
        <p:spPr>
          <a:xfrm>
            <a:off x="6699494" y="5145842"/>
            <a:ext cx="758541" cy="584775"/>
          </a:xfrm>
          <a:prstGeom prst="rect">
            <a:avLst/>
          </a:prstGeom>
          <a:noFill/>
        </p:spPr>
        <p:txBody>
          <a:bodyPr wrap="none" rtlCol="0">
            <a:spAutoFit/>
          </a:bodyPr>
          <a:lstStyle/>
          <a:p>
            <a:r>
              <a:rPr lang="en-GB" sz="3200" b="1" dirty="0">
                <a:solidFill>
                  <a:schemeClr val="accent1"/>
                </a:solidFill>
                <a:latin typeface="+mj-lt"/>
              </a:rPr>
              <a:t>5.7</a:t>
            </a:r>
            <a:endParaRPr lang="en-GB" sz="3200" b="1" baseline="30000" dirty="0">
              <a:solidFill>
                <a:schemeClr val="accent1"/>
              </a:solidFill>
              <a:latin typeface="+mj-lt"/>
            </a:endParaRPr>
          </a:p>
        </p:txBody>
      </p:sp>
      <p:graphicFrame>
        <p:nvGraphicFramePr>
          <p:cNvPr id="11" name="Chart 10">
            <a:extLst>
              <a:ext uri="{FF2B5EF4-FFF2-40B4-BE49-F238E27FC236}">
                <a16:creationId xmlns:a16="http://schemas.microsoft.com/office/drawing/2014/main" id="{613D07A2-3EDB-418C-A484-E01FFD5BF0A9}"/>
              </a:ext>
            </a:extLst>
          </p:cNvPr>
          <p:cNvGraphicFramePr/>
          <p:nvPr>
            <p:extLst>
              <p:ext uri="{D42A27DB-BD31-4B8C-83A1-F6EECF244321}">
                <p14:modId xmlns:p14="http://schemas.microsoft.com/office/powerpoint/2010/main" val="667236055"/>
              </p:ext>
            </p:extLst>
          </p:nvPr>
        </p:nvGraphicFramePr>
        <p:xfrm>
          <a:off x="6198086" y="1877596"/>
          <a:ext cx="1781907" cy="1410551"/>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742250F9-5C5E-45AB-9951-AE619DDB97C1}"/>
              </a:ext>
            </a:extLst>
          </p:cNvPr>
          <p:cNvSpPr txBox="1"/>
          <p:nvPr/>
        </p:nvSpPr>
        <p:spPr>
          <a:xfrm>
            <a:off x="6649656" y="2290484"/>
            <a:ext cx="878767" cy="584775"/>
          </a:xfrm>
          <a:prstGeom prst="rect">
            <a:avLst/>
          </a:prstGeom>
          <a:noFill/>
        </p:spPr>
        <p:txBody>
          <a:bodyPr wrap="none" rtlCol="0">
            <a:spAutoFit/>
          </a:bodyPr>
          <a:lstStyle/>
          <a:p>
            <a:r>
              <a:rPr lang="en-GB" sz="3200" b="1" dirty="0">
                <a:solidFill>
                  <a:schemeClr val="accent1"/>
                </a:solidFill>
                <a:latin typeface="+mj-lt"/>
              </a:rPr>
              <a:t>99</a:t>
            </a:r>
            <a:r>
              <a:rPr lang="en-GB" sz="3200" b="1" baseline="30000" dirty="0">
                <a:solidFill>
                  <a:schemeClr val="accent1"/>
                </a:solidFill>
                <a:latin typeface="+mj-lt"/>
              </a:rPr>
              <a:t>%</a:t>
            </a:r>
          </a:p>
        </p:txBody>
      </p:sp>
      <p:grpSp>
        <p:nvGrpSpPr>
          <p:cNvPr id="13" name="Trends" descr="{&quot;Key&quot;:&quot;POWER_USER_SHAPE_ICON&quot;,&quot;Value&quot;:&quot;POWER_USER_SHAPE_ICON_STYLE_1&quot;}">
            <a:extLst>
              <a:ext uri="{FF2B5EF4-FFF2-40B4-BE49-F238E27FC236}">
                <a16:creationId xmlns:a16="http://schemas.microsoft.com/office/drawing/2014/main" id="{4BFEEF90-3D69-48F1-A93B-0B22EE422C94}"/>
              </a:ext>
            </a:extLst>
          </p:cNvPr>
          <p:cNvGrpSpPr>
            <a:grpSpLocks noChangeAspect="1"/>
          </p:cNvGrpSpPr>
          <p:nvPr>
            <p:custDataLst>
              <p:tags r:id="rId1"/>
            </p:custDataLst>
          </p:nvPr>
        </p:nvGrpSpPr>
        <p:grpSpPr bwMode="auto">
          <a:xfrm>
            <a:off x="6557840" y="3850889"/>
            <a:ext cx="1058075" cy="542925"/>
            <a:chOff x="2168" y="1309"/>
            <a:chExt cx="3200" cy="1642"/>
          </a:xfrm>
          <a:solidFill>
            <a:schemeClr val="tx1"/>
          </a:solidFill>
        </p:grpSpPr>
        <p:sp>
          <p:nvSpPr>
            <p:cNvPr id="14" name="Freeform 186">
              <a:extLst>
                <a:ext uri="{FF2B5EF4-FFF2-40B4-BE49-F238E27FC236}">
                  <a16:creationId xmlns:a16="http://schemas.microsoft.com/office/drawing/2014/main" id="{0C322BF9-2E5B-4CD5-A2F9-05AA5B205AF5}"/>
                </a:ext>
              </a:extLst>
            </p:cNvPr>
            <p:cNvSpPr>
              <a:spLocks/>
            </p:cNvSpPr>
            <p:nvPr/>
          </p:nvSpPr>
          <p:spPr bwMode="auto">
            <a:xfrm>
              <a:off x="2168" y="1694"/>
              <a:ext cx="2092" cy="1257"/>
            </a:xfrm>
            <a:custGeom>
              <a:avLst/>
              <a:gdLst>
                <a:gd name="T0" fmla="*/ 487 w 527"/>
                <a:gd name="T1" fmla="*/ 10 h 316"/>
                <a:gd name="T2" fmla="*/ 361 w 527"/>
                <a:gd name="T3" fmla="*/ 243 h 316"/>
                <a:gd name="T4" fmla="*/ 198 w 527"/>
                <a:gd name="T5" fmla="*/ 14 h 316"/>
                <a:gd name="T6" fmla="*/ 164 w 527"/>
                <a:gd name="T7" fmla="*/ 7 h 316"/>
                <a:gd name="T8" fmla="*/ 14 w 527"/>
                <a:gd name="T9" fmla="*/ 107 h 316"/>
                <a:gd name="T10" fmla="*/ 7 w 527"/>
                <a:gd name="T11" fmla="*/ 142 h 316"/>
                <a:gd name="T12" fmla="*/ 42 w 527"/>
                <a:gd name="T13" fmla="*/ 149 h 316"/>
                <a:gd name="T14" fmla="*/ 172 w 527"/>
                <a:gd name="T15" fmla="*/ 62 h 316"/>
                <a:gd name="T16" fmla="*/ 343 w 527"/>
                <a:gd name="T17" fmla="*/ 305 h 316"/>
                <a:gd name="T18" fmla="*/ 363 w 527"/>
                <a:gd name="T19" fmla="*/ 316 h 316"/>
                <a:gd name="T20" fmla="*/ 365 w 527"/>
                <a:gd name="T21" fmla="*/ 316 h 316"/>
                <a:gd name="T22" fmla="*/ 385 w 527"/>
                <a:gd name="T23" fmla="*/ 303 h 316"/>
                <a:gd name="T24" fmla="*/ 527 w 527"/>
                <a:gd name="T25" fmla="*/ 42 h 316"/>
                <a:gd name="T26" fmla="*/ 487 w 527"/>
                <a:gd name="T27" fmla="*/ 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7" h="316">
                  <a:moveTo>
                    <a:pt x="487" y="10"/>
                  </a:moveTo>
                  <a:lnTo>
                    <a:pt x="361" y="243"/>
                  </a:lnTo>
                  <a:lnTo>
                    <a:pt x="198" y="14"/>
                  </a:lnTo>
                  <a:cubicBezTo>
                    <a:pt x="191" y="3"/>
                    <a:pt x="175" y="0"/>
                    <a:pt x="164" y="7"/>
                  </a:cubicBezTo>
                  <a:lnTo>
                    <a:pt x="14" y="107"/>
                  </a:lnTo>
                  <a:cubicBezTo>
                    <a:pt x="3" y="115"/>
                    <a:pt x="0" y="131"/>
                    <a:pt x="7" y="142"/>
                  </a:cubicBezTo>
                  <a:cubicBezTo>
                    <a:pt x="15" y="154"/>
                    <a:pt x="30" y="157"/>
                    <a:pt x="42" y="149"/>
                  </a:cubicBezTo>
                  <a:lnTo>
                    <a:pt x="172" y="62"/>
                  </a:lnTo>
                  <a:lnTo>
                    <a:pt x="343" y="305"/>
                  </a:lnTo>
                  <a:cubicBezTo>
                    <a:pt x="348" y="312"/>
                    <a:pt x="355" y="316"/>
                    <a:pt x="363" y="316"/>
                  </a:cubicBezTo>
                  <a:cubicBezTo>
                    <a:pt x="364" y="316"/>
                    <a:pt x="364" y="316"/>
                    <a:pt x="365" y="316"/>
                  </a:cubicBezTo>
                  <a:cubicBezTo>
                    <a:pt x="374" y="315"/>
                    <a:pt x="381" y="310"/>
                    <a:pt x="385" y="303"/>
                  </a:cubicBezTo>
                  <a:lnTo>
                    <a:pt x="527" y="42"/>
                  </a:lnTo>
                  <a:cubicBezTo>
                    <a:pt x="511" y="35"/>
                    <a:pt x="497" y="24"/>
                    <a:pt x="487" y="1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Oval 187">
              <a:extLst>
                <a:ext uri="{FF2B5EF4-FFF2-40B4-BE49-F238E27FC236}">
                  <a16:creationId xmlns:a16="http://schemas.microsoft.com/office/drawing/2014/main" id="{60A749AA-F2B4-439D-9615-DF5F41D2C6BD}"/>
                </a:ext>
              </a:extLst>
            </p:cNvPr>
            <p:cNvSpPr>
              <a:spLocks noChangeArrowheads="1"/>
            </p:cNvSpPr>
            <p:nvPr/>
          </p:nvSpPr>
          <p:spPr bwMode="auto">
            <a:xfrm>
              <a:off x="4173" y="1309"/>
              <a:ext cx="449" cy="449"/>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188">
              <a:extLst>
                <a:ext uri="{FF2B5EF4-FFF2-40B4-BE49-F238E27FC236}">
                  <a16:creationId xmlns:a16="http://schemas.microsoft.com/office/drawing/2014/main" id="{8C6F548C-7750-4111-AB0D-847BEB9CED85}"/>
                </a:ext>
              </a:extLst>
            </p:cNvPr>
            <p:cNvSpPr>
              <a:spLocks/>
            </p:cNvSpPr>
            <p:nvPr/>
          </p:nvSpPr>
          <p:spPr bwMode="auto">
            <a:xfrm>
              <a:off x="4598" y="1667"/>
              <a:ext cx="770" cy="966"/>
            </a:xfrm>
            <a:custGeom>
              <a:avLst/>
              <a:gdLst>
                <a:gd name="T0" fmla="*/ 0 w 194"/>
                <a:gd name="T1" fmla="*/ 40 h 243"/>
                <a:gd name="T2" fmla="*/ 146 w 194"/>
                <a:gd name="T3" fmla="*/ 230 h 243"/>
                <a:gd name="T4" fmla="*/ 181 w 194"/>
                <a:gd name="T5" fmla="*/ 234 h 243"/>
                <a:gd name="T6" fmla="*/ 186 w 194"/>
                <a:gd name="T7" fmla="*/ 199 h 243"/>
                <a:gd name="T8" fmla="*/ 32 w 194"/>
                <a:gd name="T9" fmla="*/ 0 h 243"/>
                <a:gd name="T10" fmla="*/ 0 w 194"/>
                <a:gd name="T11" fmla="*/ 40 h 243"/>
              </a:gdLst>
              <a:ahLst/>
              <a:cxnLst>
                <a:cxn ang="0">
                  <a:pos x="T0" y="T1"/>
                </a:cxn>
                <a:cxn ang="0">
                  <a:pos x="T2" y="T3"/>
                </a:cxn>
                <a:cxn ang="0">
                  <a:pos x="T4" y="T5"/>
                </a:cxn>
                <a:cxn ang="0">
                  <a:pos x="T6" y="T7"/>
                </a:cxn>
                <a:cxn ang="0">
                  <a:pos x="T8" y="T9"/>
                </a:cxn>
                <a:cxn ang="0">
                  <a:pos x="T10" y="T11"/>
                </a:cxn>
              </a:cxnLst>
              <a:rect l="0" t="0" r="r" b="b"/>
              <a:pathLst>
                <a:path w="194" h="243">
                  <a:moveTo>
                    <a:pt x="0" y="40"/>
                  </a:moveTo>
                  <a:lnTo>
                    <a:pt x="146" y="230"/>
                  </a:lnTo>
                  <a:cubicBezTo>
                    <a:pt x="155" y="241"/>
                    <a:pt x="170" y="243"/>
                    <a:pt x="181" y="234"/>
                  </a:cubicBezTo>
                  <a:cubicBezTo>
                    <a:pt x="192" y="226"/>
                    <a:pt x="194" y="210"/>
                    <a:pt x="186" y="199"/>
                  </a:cubicBezTo>
                  <a:lnTo>
                    <a:pt x="32" y="0"/>
                  </a:lnTo>
                  <a:cubicBezTo>
                    <a:pt x="26" y="16"/>
                    <a:pt x="14" y="30"/>
                    <a:pt x="0" y="4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 name="TextBox 16">
            <a:extLst>
              <a:ext uri="{FF2B5EF4-FFF2-40B4-BE49-F238E27FC236}">
                <a16:creationId xmlns:a16="http://schemas.microsoft.com/office/drawing/2014/main" id="{3744B4B1-61B2-4C83-9F63-49BDBF63DF8E}"/>
              </a:ext>
            </a:extLst>
          </p:cNvPr>
          <p:cNvSpPr txBox="1"/>
          <p:nvPr/>
        </p:nvSpPr>
        <p:spPr>
          <a:xfrm>
            <a:off x="6778139" y="3342005"/>
            <a:ext cx="987771" cy="58477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chemeClr val="accent1"/>
                </a:solidFill>
                <a:effectLst/>
                <a:uLnTx/>
                <a:uFillTx/>
                <a:latin typeface="Century Gothic"/>
                <a:ea typeface="+mn-ea"/>
                <a:cs typeface="+mn-cs"/>
              </a:rPr>
              <a:t>1.28</a:t>
            </a:r>
            <a:endParaRPr kumimoji="0" lang="en-GB" sz="3200" b="1" i="0" u="none" strike="noStrike" kern="1200" cap="none" spc="0" normalizeH="0" baseline="30000" noProof="0" dirty="0">
              <a:ln>
                <a:noFill/>
              </a:ln>
              <a:solidFill>
                <a:schemeClr val="accent1"/>
              </a:solidFill>
              <a:effectLst/>
              <a:uLnTx/>
              <a:uFillTx/>
              <a:latin typeface="Century Gothic"/>
              <a:ea typeface="+mn-ea"/>
              <a:cs typeface="+mn-cs"/>
            </a:endParaRPr>
          </a:p>
        </p:txBody>
      </p:sp>
      <p:sp>
        <p:nvSpPr>
          <p:cNvPr id="18" name="TextBox 17">
            <a:extLst>
              <a:ext uri="{FF2B5EF4-FFF2-40B4-BE49-F238E27FC236}">
                <a16:creationId xmlns:a16="http://schemas.microsoft.com/office/drawing/2014/main" id="{D2357500-42C7-4262-8E11-354A1110EB1F}"/>
              </a:ext>
            </a:extLst>
          </p:cNvPr>
          <p:cNvSpPr txBox="1"/>
          <p:nvPr/>
        </p:nvSpPr>
        <p:spPr>
          <a:xfrm>
            <a:off x="7766899" y="2051317"/>
            <a:ext cx="3759241" cy="914400"/>
          </a:xfrm>
          <a:prstGeom prst="rect">
            <a:avLst/>
          </a:prstGeom>
        </p:spPr>
        <p:txBody>
          <a:bodyPr vert="horz" wrap="square" lIns="0" tIns="0" rIns="0" bIns="0" rtlCol="0" anchor="t" anchorCtr="0">
            <a:noAutofit/>
          </a:bodyPr>
          <a:lstStyle/>
          <a:p>
            <a:r>
              <a:rPr lang="en-GB" sz="2000" dirty="0"/>
              <a:t>Of mail from publishers is engaged with:  opened, read, sorted, put aside, put on display or in the usual place.</a:t>
            </a:r>
          </a:p>
        </p:txBody>
      </p:sp>
      <p:sp>
        <p:nvSpPr>
          <p:cNvPr id="19" name="TextBox 18">
            <a:extLst>
              <a:ext uri="{FF2B5EF4-FFF2-40B4-BE49-F238E27FC236}">
                <a16:creationId xmlns:a16="http://schemas.microsoft.com/office/drawing/2014/main" id="{DEA4B0D6-5499-4009-B35B-6BD968BCDC9B}"/>
              </a:ext>
            </a:extLst>
          </p:cNvPr>
          <p:cNvSpPr txBox="1"/>
          <p:nvPr/>
        </p:nvSpPr>
        <p:spPr>
          <a:xfrm>
            <a:off x="7811902" y="5072737"/>
            <a:ext cx="3759241" cy="914400"/>
          </a:xfrm>
          <a:prstGeom prst="rect">
            <a:avLst/>
          </a:prstGeom>
        </p:spPr>
        <p:txBody>
          <a:bodyPr vert="horz" wrap="square" lIns="0" tIns="0" rIns="0" bIns="0" rtlCol="0" anchor="t" anchorCtr="0">
            <a:noAutofit/>
          </a:bodyPr>
          <a:lstStyle/>
          <a:p>
            <a:r>
              <a:rPr lang="en-GB" sz="2000" dirty="0"/>
              <a:t>Each piece of mail from a publisher is revisited 5.7 times by individuals.</a:t>
            </a:r>
          </a:p>
        </p:txBody>
      </p:sp>
      <p:sp>
        <p:nvSpPr>
          <p:cNvPr id="20" name="TextBox 19">
            <a:extLst>
              <a:ext uri="{FF2B5EF4-FFF2-40B4-BE49-F238E27FC236}">
                <a16:creationId xmlns:a16="http://schemas.microsoft.com/office/drawing/2014/main" id="{5DA6F7A0-CE05-4034-ACB2-9EC2919DA6DA}"/>
              </a:ext>
            </a:extLst>
          </p:cNvPr>
          <p:cNvSpPr txBox="1"/>
          <p:nvPr/>
        </p:nvSpPr>
        <p:spPr>
          <a:xfrm>
            <a:off x="7811902" y="3685317"/>
            <a:ext cx="3759241" cy="831448"/>
          </a:xfrm>
          <a:prstGeom prst="rect">
            <a:avLst/>
          </a:prstGeom>
        </p:spPr>
        <p:txBody>
          <a:bodyPr vert="horz" wrap="square" lIns="0" tIns="0" rIns="0" bIns="0" rtlCol="0" anchor="t" anchorCtr="0">
            <a:noAutofit/>
          </a:bodyPr>
          <a:lstStyle/>
          <a:p>
            <a:r>
              <a:rPr lang="en-GB" sz="2000" dirty="0"/>
              <a:t>Every 100 mail packs sent reach another 28 individuals.</a:t>
            </a:r>
          </a:p>
        </p:txBody>
      </p:sp>
      <p:sp>
        <p:nvSpPr>
          <p:cNvPr id="21" name="TextBox 20">
            <a:extLst>
              <a:ext uri="{FF2B5EF4-FFF2-40B4-BE49-F238E27FC236}">
                <a16:creationId xmlns:a16="http://schemas.microsoft.com/office/drawing/2014/main" id="{2307FE47-07C4-4341-81D4-3A1F12D2D232}"/>
              </a:ext>
            </a:extLst>
          </p:cNvPr>
          <p:cNvSpPr txBox="1"/>
          <p:nvPr/>
        </p:nvSpPr>
        <p:spPr>
          <a:xfrm>
            <a:off x="6927649" y="6318674"/>
            <a:ext cx="4474302" cy="253916"/>
          </a:xfrm>
          <a:prstGeom prst="rect">
            <a:avLst/>
          </a:prstGeom>
          <a:noFill/>
        </p:spPr>
        <p:txBody>
          <a:bodyPr wrap="none" rtlCol="0">
            <a:spAutoFit/>
          </a:bodyPr>
          <a:lstStyle/>
          <a:p>
            <a:r>
              <a:rPr lang="en-GB" sz="1050" dirty="0"/>
              <a:t>Source:  JICMAIL, Magazine/Newspaper Publisher, Q2 2017-Q3 2022, n=9,427 </a:t>
            </a:r>
          </a:p>
        </p:txBody>
      </p:sp>
      <p:sp>
        <p:nvSpPr>
          <p:cNvPr id="23" name="Title 1">
            <a:extLst>
              <a:ext uri="{FF2B5EF4-FFF2-40B4-BE49-F238E27FC236}">
                <a16:creationId xmlns:a16="http://schemas.microsoft.com/office/drawing/2014/main" id="{309CD072-2743-4A5C-BE62-4D78770847CE}"/>
              </a:ext>
            </a:extLst>
          </p:cNvPr>
          <p:cNvSpPr txBox="1">
            <a:spLocks/>
          </p:cNvSpPr>
          <p:nvPr/>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Publishing mail is engaging</a:t>
            </a:r>
            <a:endParaRPr lang="en-GB" dirty="0"/>
          </a:p>
        </p:txBody>
      </p:sp>
    </p:spTree>
    <p:extLst>
      <p:ext uri="{BB962C8B-B14F-4D97-AF65-F5344CB8AC3E}">
        <p14:creationId xmlns:p14="http://schemas.microsoft.com/office/powerpoint/2010/main" val="12414593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BEEFE8B2-226B-4167-BB12-C99DB94271A2}"/>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a:stretch>
            <a:fillRect/>
          </a:stretch>
        </p:blipFill>
        <p:spPr/>
      </p:pic>
      <p:sp>
        <p:nvSpPr>
          <p:cNvPr id="3" name="Slide Number Placeholder 2">
            <a:extLst>
              <a:ext uri="{FF2B5EF4-FFF2-40B4-BE49-F238E27FC236}">
                <a16:creationId xmlns:a16="http://schemas.microsoft.com/office/drawing/2014/main" id="{A2671E49-0587-4CD9-9F2F-C8901DE58652}"/>
              </a:ext>
            </a:extLst>
          </p:cNvPr>
          <p:cNvSpPr>
            <a:spLocks noGrp="1"/>
          </p:cNvSpPr>
          <p:nvPr>
            <p:ph type="sldNum" sz="quarter" idx="16"/>
          </p:nvPr>
        </p:nvSpPr>
        <p:spPr/>
        <p:txBody>
          <a:bodyPr/>
          <a:lstStyle/>
          <a:p>
            <a:fld id="{3787542D-5C6B-4EB3-96EB-9B37C3D5D2F8}" type="slidenum">
              <a:rPr lang="en-GB" smtClean="0"/>
              <a:t>5</a:t>
            </a:fld>
            <a:endParaRPr lang="en-GB" dirty="0"/>
          </a:p>
        </p:txBody>
      </p:sp>
      <p:sp>
        <p:nvSpPr>
          <p:cNvPr id="4" name="Title 3">
            <a:extLst>
              <a:ext uri="{FF2B5EF4-FFF2-40B4-BE49-F238E27FC236}">
                <a16:creationId xmlns:a16="http://schemas.microsoft.com/office/drawing/2014/main" id="{4D74C87D-3FC5-4173-AF4F-44A4693E8247}"/>
              </a:ext>
            </a:extLst>
          </p:cNvPr>
          <p:cNvSpPr>
            <a:spLocks noGrp="1"/>
          </p:cNvSpPr>
          <p:nvPr>
            <p:ph type="title"/>
          </p:nvPr>
        </p:nvSpPr>
        <p:spPr/>
        <p:txBody>
          <a:bodyPr/>
          <a:lstStyle/>
          <a:p>
            <a:r>
              <a:rPr lang="en-GB" dirty="0"/>
              <a:t>Postage credits 2024</a:t>
            </a:r>
          </a:p>
        </p:txBody>
      </p:sp>
      <p:sp>
        <p:nvSpPr>
          <p:cNvPr id="5" name="Content Placeholder 4">
            <a:extLst>
              <a:ext uri="{FF2B5EF4-FFF2-40B4-BE49-F238E27FC236}">
                <a16:creationId xmlns:a16="http://schemas.microsoft.com/office/drawing/2014/main" id="{729522BD-9792-4D89-879B-230072AF12F0}"/>
              </a:ext>
            </a:extLst>
          </p:cNvPr>
          <p:cNvSpPr>
            <a:spLocks noGrp="1"/>
          </p:cNvSpPr>
          <p:nvPr>
            <p:ph sz="quarter" idx="17"/>
          </p:nvPr>
        </p:nvSpPr>
        <p:spPr/>
        <p:txBody>
          <a:bodyPr/>
          <a:lstStyle/>
          <a:p>
            <a:pPr marL="0" indent="0">
              <a:buNone/>
            </a:pPr>
            <a:r>
              <a:rPr lang="en-GB" sz="3200" dirty="0"/>
              <a:t>Publishing volume commitment when you mail 95% or more of the volume you mailed the year before during a 12 month period.</a:t>
            </a:r>
          </a:p>
          <a:p>
            <a:pPr marL="0" indent="0">
              <a:buNone/>
            </a:pPr>
            <a:endParaRPr lang="en-GB" sz="3200" dirty="0"/>
          </a:p>
        </p:txBody>
      </p:sp>
      <p:sp>
        <p:nvSpPr>
          <p:cNvPr id="6" name="TextBox 5">
            <a:extLst>
              <a:ext uri="{FF2B5EF4-FFF2-40B4-BE49-F238E27FC236}">
                <a16:creationId xmlns:a16="http://schemas.microsoft.com/office/drawing/2014/main" id="{163A3EFC-B77C-40B4-9536-9A1FFC716C06}"/>
              </a:ext>
            </a:extLst>
          </p:cNvPr>
          <p:cNvSpPr txBox="1"/>
          <p:nvPr/>
        </p:nvSpPr>
        <p:spPr>
          <a:xfrm>
            <a:off x="1261762" y="4976813"/>
            <a:ext cx="3117777" cy="523220"/>
          </a:xfrm>
          <a:prstGeom prst="rect">
            <a:avLst/>
          </a:prstGeom>
          <a:solidFill>
            <a:schemeClr val="accent1"/>
          </a:solidFill>
        </p:spPr>
        <p:txBody>
          <a:bodyPr wrap="none" rtlCol="0">
            <a:spAutoFit/>
          </a:bodyPr>
          <a:lstStyle/>
          <a:p>
            <a:r>
              <a:rPr lang="en-GB" sz="2800" b="1" dirty="0">
                <a:solidFill>
                  <a:schemeClr val="bg1"/>
                </a:solidFill>
              </a:rPr>
              <a:t>Postage Credit = 2%</a:t>
            </a:r>
          </a:p>
        </p:txBody>
      </p:sp>
    </p:spTree>
    <p:extLst>
      <p:ext uri="{BB962C8B-B14F-4D97-AF65-F5344CB8AC3E}">
        <p14:creationId xmlns:p14="http://schemas.microsoft.com/office/powerpoint/2010/main" val="32476194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7F266-3070-4B83-9733-B15DC3AD9A4F}"/>
              </a:ext>
            </a:extLst>
          </p:cNvPr>
          <p:cNvSpPr>
            <a:spLocks noGrp="1"/>
          </p:cNvSpPr>
          <p:nvPr>
            <p:ph type="title"/>
          </p:nvPr>
        </p:nvSpPr>
        <p:spPr/>
        <p:txBody>
          <a:bodyPr/>
          <a:lstStyle/>
          <a:p>
            <a:r>
              <a:rPr lang="en-GB" dirty="0"/>
              <a:t>ENTRY REQUIREMENTS</a:t>
            </a:r>
          </a:p>
        </p:txBody>
      </p:sp>
      <p:sp>
        <p:nvSpPr>
          <p:cNvPr id="3" name="Text Placeholder 2">
            <a:extLst>
              <a:ext uri="{FF2B5EF4-FFF2-40B4-BE49-F238E27FC236}">
                <a16:creationId xmlns:a16="http://schemas.microsoft.com/office/drawing/2014/main" id="{E2BA4DBE-7196-4E62-9D74-788C1BA7D42E}"/>
              </a:ext>
            </a:extLst>
          </p:cNvPr>
          <p:cNvSpPr>
            <a:spLocks noGrp="1"/>
          </p:cNvSpPr>
          <p:nvPr>
            <p:ph type="body" sz="quarter" idx="11"/>
          </p:nvPr>
        </p:nvSpPr>
        <p:spPr/>
        <p:txBody>
          <a:bodyPr/>
          <a:lstStyle/>
          <a:p>
            <a:endParaRPr lang="en-GB" dirty="0"/>
          </a:p>
        </p:txBody>
      </p:sp>
      <p:sp>
        <p:nvSpPr>
          <p:cNvPr id="4" name="Arrow14" descr="{&quot;Key&quot;:&quot;POWER_USER_SHAPE_ICON&quot;,&quot;Value&quot;:&quot;POWER_USER_SHAPE_ICON_STYLE_1&quot;}">
            <a:extLst>
              <a:ext uri="{FF2B5EF4-FFF2-40B4-BE49-F238E27FC236}">
                <a16:creationId xmlns:a16="http://schemas.microsoft.com/office/drawing/2014/main" id="{6690B58B-6CF1-4955-8D52-7FBE295B9BD2}"/>
              </a:ext>
            </a:extLst>
          </p:cNvPr>
          <p:cNvSpPr>
            <a:spLocks noChangeAspect="1"/>
          </p:cNvSpPr>
          <p:nvPr/>
        </p:nvSpPr>
        <p:spPr>
          <a:xfrm>
            <a:off x="942871" y="1708169"/>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scene3d>
              <a:camera prst="orthographicFront">
                <a:rot lat="0" lon="0" rev="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Arrow14 - 1" descr="{&quot;Key&quot;:&quot;POWER_USER_SHAPE_ICON&quot;,&quot;Value&quot;:&quot;POWER_USER_SHAPE_ICON_STYLE_1&quot;}">
            <a:extLst>
              <a:ext uri="{FF2B5EF4-FFF2-40B4-BE49-F238E27FC236}">
                <a16:creationId xmlns:a16="http://schemas.microsoft.com/office/drawing/2014/main" id="{B763D653-18EE-4628-8A73-0A473F0C4375}"/>
              </a:ext>
            </a:extLst>
          </p:cNvPr>
          <p:cNvSpPr>
            <a:spLocks noChangeAspect="1"/>
          </p:cNvSpPr>
          <p:nvPr/>
        </p:nvSpPr>
        <p:spPr>
          <a:xfrm>
            <a:off x="3583158" y="1708169"/>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Arrow14 - 2" descr="{&quot;Key&quot;:&quot;POWER_USER_SHAPE_ICON&quot;,&quot;Value&quot;:&quot;POWER_USER_SHAPE_ICON_STYLE_1&quot;}">
            <a:extLst>
              <a:ext uri="{FF2B5EF4-FFF2-40B4-BE49-F238E27FC236}">
                <a16:creationId xmlns:a16="http://schemas.microsoft.com/office/drawing/2014/main" id="{E50EC5FC-1270-41FF-A626-74A5248546C4}"/>
              </a:ext>
            </a:extLst>
          </p:cNvPr>
          <p:cNvSpPr>
            <a:spLocks noChangeAspect="1"/>
          </p:cNvSpPr>
          <p:nvPr/>
        </p:nvSpPr>
        <p:spPr>
          <a:xfrm>
            <a:off x="6223445" y="1708169"/>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Arrow14 - 3" descr="{&quot;Key&quot;:&quot;POWER_USER_SHAPE_ICON&quot;,&quot;Value&quot;:&quot;POWER_USER_SHAPE_ICON_STYLE_1&quot;}">
            <a:extLst>
              <a:ext uri="{FF2B5EF4-FFF2-40B4-BE49-F238E27FC236}">
                <a16:creationId xmlns:a16="http://schemas.microsoft.com/office/drawing/2014/main" id="{B86B2D5A-22BF-4879-9614-32F41509D7EE}"/>
              </a:ext>
            </a:extLst>
          </p:cNvPr>
          <p:cNvSpPr>
            <a:spLocks noChangeAspect="1"/>
          </p:cNvSpPr>
          <p:nvPr/>
        </p:nvSpPr>
        <p:spPr>
          <a:xfrm>
            <a:off x="8863731" y="1708169"/>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30F52DC4-6365-41DC-B358-A3F94817D177}"/>
              </a:ext>
            </a:extLst>
          </p:cNvPr>
          <p:cNvSpPr txBox="1"/>
          <p:nvPr/>
        </p:nvSpPr>
        <p:spPr>
          <a:xfrm>
            <a:off x="807776" y="4196123"/>
            <a:ext cx="2664000" cy="1077218"/>
          </a:xfrm>
          <a:prstGeom prst="rect">
            <a:avLst/>
          </a:prstGeom>
          <a:noFill/>
        </p:spPr>
        <p:txBody>
          <a:bodyPr wrap="square" rtlCol="0">
            <a:spAutoFit/>
          </a:bodyPr>
          <a:lstStyle/>
          <a:p>
            <a:pPr>
              <a:spcAft>
                <a:spcPts val="1200"/>
              </a:spcAft>
            </a:pPr>
            <a:r>
              <a:rPr lang="en-US" sz="1600" dirty="0"/>
              <a:t>Post a minimum of 250,000 items during the 12 month volume commitment period with no maximum volume</a:t>
            </a:r>
          </a:p>
        </p:txBody>
      </p:sp>
      <p:sp>
        <p:nvSpPr>
          <p:cNvPr id="9" name="TextBox 8">
            <a:extLst>
              <a:ext uri="{FF2B5EF4-FFF2-40B4-BE49-F238E27FC236}">
                <a16:creationId xmlns:a16="http://schemas.microsoft.com/office/drawing/2014/main" id="{0E02E1EA-EFA6-4CAF-A9D7-1F201D8F5B01}"/>
              </a:ext>
            </a:extLst>
          </p:cNvPr>
          <p:cNvSpPr txBox="1"/>
          <p:nvPr/>
        </p:nvSpPr>
        <p:spPr>
          <a:xfrm>
            <a:off x="3445259" y="4196123"/>
            <a:ext cx="2664000" cy="830997"/>
          </a:xfrm>
          <a:prstGeom prst="rect">
            <a:avLst/>
          </a:prstGeom>
          <a:noFill/>
        </p:spPr>
        <p:txBody>
          <a:bodyPr wrap="square" rtlCol="0">
            <a:spAutoFit/>
          </a:bodyPr>
          <a:lstStyle/>
          <a:p>
            <a:pPr>
              <a:spcAft>
                <a:spcPts val="1200"/>
              </a:spcAft>
            </a:pPr>
            <a:r>
              <a:rPr lang="en-GB" sz="1600" dirty="0"/>
              <a:t>Available for Large Letter format items using Magazine Subscription mail.</a:t>
            </a:r>
          </a:p>
        </p:txBody>
      </p:sp>
      <p:sp>
        <p:nvSpPr>
          <p:cNvPr id="10" name="TextBox 9">
            <a:extLst>
              <a:ext uri="{FF2B5EF4-FFF2-40B4-BE49-F238E27FC236}">
                <a16:creationId xmlns:a16="http://schemas.microsoft.com/office/drawing/2014/main" id="{4DF27763-2715-4333-A30D-4A43099E7A7E}"/>
              </a:ext>
            </a:extLst>
          </p:cNvPr>
          <p:cNvSpPr txBox="1"/>
          <p:nvPr/>
        </p:nvSpPr>
        <p:spPr>
          <a:xfrm>
            <a:off x="6082742" y="4196123"/>
            <a:ext cx="2664000" cy="1323439"/>
          </a:xfrm>
          <a:prstGeom prst="rect">
            <a:avLst/>
          </a:prstGeom>
          <a:noFill/>
        </p:spPr>
        <p:txBody>
          <a:bodyPr wrap="square" rtlCol="0">
            <a:spAutoFit/>
          </a:bodyPr>
          <a:lstStyle/>
          <a:p>
            <a:pPr lvl="0"/>
            <a:r>
              <a:rPr lang="en-GB" sz="1600" dirty="0"/>
              <a:t>The front cover of each publication must clearly show its’ title and one of the following:  date of issue; month; season/issue number.</a:t>
            </a:r>
          </a:p>
        </p:txBody>
      </p:sp>
      <p:sp>
        <p:nvSpPr>
          <p:cNvPr id="11" name="TextBox 10">
            <a:extLst>
              <a:ext uri="{FF2B5EF4-FFF2-40B4-BE49-F238E27FC236}">
                <a16:creationId xmlns:a16="http://schemas.microsoft.com/office/drawing/2014/main" id="{35BE4D2A-B711-4648-84B3-069249F9177C}"/>
              </a:ext>
            </a:extLst>
          </p:cNvPr>
          <p:cNvSpPr txBox="1"/>
          <p:nvPr/>
        </p:nvSpPr>
        <p:spPr>
          <a:xfrm>
            <a:off x="8720224" y="4196123"/>
            <a:ext cx="2814436" cy="1077218"/>
          </a:xfrm>
          <a:prstGeom prst="rect">
            <a:avLst/>
          </a:prstGeom>
          <a:noFill/>
        </p:spPr>
        <p:txBody>
          <a:bodyPr wrap="square" rtlCol="0">
            <a:spAutoFit/>
          </a:bodyPr>
          <a:lstStyle/>
          <a:p>
            <a:pPr>
              <a:spcAft>
                <a:spcPts val="1200"/>
              </a:spcAft>
            </a:pPr>
            <a:r>
              <a:rPr lang="en-GB" sz="1600" dirty="0"/>
              <a:t>At least 16% of the publication must contain editorial content – 30% editorial if you use the Subscription Magazine service.</a:t>
            </a:r>
          </a:p>
        </p:txBody>
      </p:sp>
      <p:sp>
        <p:nvSpPr>
          <p:cNvPr id="12" name="TextBox 11">
            <a:extLst>
              <a:ext uri="{FF2B5EF4-FFF2-40B4-BE49-F238E27FC236}">
                <a16:creationId xmlns:a16="http://schemas.microsoft.com/office/drawing/2014/main" id="{D0A48AC1-E82A-475B-8546-A9ABAFA0EE9D}"/>
              </a:ext>
            </a:extLst>
          </p:cNvPr>
          <p:cNvSpPr txBox="1"/>
          <p:nvPr/>
        </p:nvSpPr>
        <p:spPr>
          <a:xfrm>
            <a:off x="2400273" y="1770363"/>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1</a:t>
            </a:r>
          </a:p>
        </p:txBody>
      </p:sp>
      <p:sp>
        <p:nvSpPr>
          <p:cNvPr id="13" name="TextBox 12">
            <a:extLst>
              <a:ext uri="{FF2B5EF4-FFF2-40B4-BE49-F238E27FC236}">
                <a16:creationId xmlns:a16="http://schemas.microsoft.com/office/drawing/2014/main" id="{668B92FC-59CB-4A91-AE6E-2C5B755F4174}"/>
              </a:ext>
            </a:extLst>
          </p:cNvPr>
          <p:cNvSpPr txBox="1"/>
          <p:nvPr/>
        </p:nvSpPr>
        <p:spPr>
          <a:xfrm>
            <a:off x="5035246" y="1770363"/>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2</a:t>
            </a:r>
          </a:p>
        </p:txBody>
      </p:sp>
      <p:sp>
        <p:nvSpPr>
          <p:cNvPr id="14" name="TextBox 13">
            <a:extLst>
              <a:ext uri="{FF2B5EF4-FFF2-40B4-BE49-F238E27FC236}">
                <a16:creationId xmlns:a16="http://schemas.microsoft.com/office/drawing/2014/main" id="{5F43AFB8-AB54-4CE1-8221-FD65726C0178}"/>
              </a:ext>
            </a:extLst>
          </p:cNvPr>
          <p:cNvSpPr txBox="1"/>
          <p:nvPr/>
        </p:nvSpPr>
        <p:spPr>
          <a:xfrm>
            <a:off x="7670219" y="1770363"/>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3</a:t>
            </a:r>
          </a:p>
        </p:txBody>
      </p:sp>
      <p:sp>
        <p:nvSpPr>
          <p:cNvPr id="15" name="TextBox 14">
            <a:extLst>
              <a:ext uri="{FF2B5EF4-FFF2-40B4-BE49-F238E27FC236}">
                <a16:creationId xmlns:a16="http://schemas.microsoft.com/office/drawing/2014/main" id="{2EAD023D-E873-4B8F-9552-B6FD46601525}"/>
              </a:ext>
            </a:extLst>
          </p:cNvPr>
          <p:cNvSpPr txBox="1"/>
          <p:nvPr/>
        </p:nvSpPr>
        <p:spPr>
          <a:xfrm>
            <a:off x="10305193" y="1770363"/>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4</a:t>
            </a:r>
          </a:p>
        </p:txBody>
      </p:sp>
      <p:sp>
        <p:nvSpPr>
          <p:cNvPr id="19" name="TextBox 18">
            <a:extLst>
              <a:ext uri="{FF2B5EF4-FFF2-40B4-BE49-F238E27FC236}">
                <a16:creationId xmlns:a16="http://schemas.microsoft.com/office/drawing/2014/main" id="{6C3E62A4-6192-46EC-847E-7819FFDED140}"/>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16" name="TextBox 15">
            <a:extLst>
              <a:ext uri="{FF2B5EF4-FFF2-40B4-BE49-F238E27FC236}">
                <a16:creationId xmlns:a16="http://schemas.microsoft.com/office/drawing/2014/main" id="{B64531E4-4D38-4684-AC16-0B42E6FF8C1A}"/>
              </a:ext>
            </a:extLst>
          </p:cNvPr>
          <p:cNvSpPr txBox="1"/>
          <p:nvPr/>
        </p:nvSpPr>
        <p:spPr>
          <a:xfrm>
            <a:off x="1243973" y="5631550"/>
            <a:ext cx="9958945" cy="584775"/>
          </a:xfrm>
          <a:prstGeom prst="rect">
            <a:avLst/>
          </a:prstGeom>
          <a:noFill/>
        </p:spPr>
        <p:txBody>
          <a:bodyPr wrap="none" rtlCol="0">
            <a:spAutoFit/>
          </a:bodyPr>
          <a:lstStyle/>
          <a:p>
            <a:pPr algn="ctr"/>
            <a:r>
              <a:rPr lang="en-GB" sz="1600" dirty="0">
                <a:solidFill>
                  <a:schemeClr val="accent1"/>
                </a:solidFill>
              </a:rPr>
              <a:t>The front and back covers are not included in calculating editorial content.</a:t>
            </a:r>
          </a:p>
          <a:p>
            <a:pPr algn="ctr"/>
            <a:r>
              <a:rPr lang="en-GB" sz="1600" dirty="0">
                <a:solidFill>
                  <a:schemeClr val="accent1"/>
                </a:solidFill>
              </a:rPr>
              <a:t>Catalogues, brochures, directories and exhibition guides, newsletters or journals are not eligible as Publishing Mail.</a:t>
            </a:r>
          </a:p>
        </p:txBody>
      </p:sp>
    </p:spTree>
    <p:extLst>
      <p:ext uri="{BB962C8B-B14F-4D97-AF65-F5344CB8AC3E}">
        <p14:creationId xmlns:p14="http://schemas.microsoft.com/office/powerpoint/2010/main" val="32812194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6FA8CCA-C2E7-40F2-ACEA-E026AFBCDDD6}"/>
              </a:ext>
            </a:extLst>
          </p:cNvPr>
          <p:cNvSpPr>
            <a:spLocks noGrp="1"/>
          </p:cNvSpPr>
          <p:nvPr>
            <p:ph type="sldNum" sz="quarter" idx="10"/>
          </p:nvPr>
        </p:nvSpPr>
        <p:spPr/>
        <p:txBody>
          <a:bodyPr/>
          <a:lstStyle/>
          <a:p>
            <a:fld id="{3787542D-5C6B-4EB3-96EB-9B37C3D5D2F8}" type="slidenum">
              <a:rPr lang="en-GB" smtClean="0"/>
              <a:t>7</a:t>
            </a:fld>
            <a:endParaRPr lang="en-GB" dirty="0"/>
          </a:p>
        </p:txBody>
      </p:sp>
      <p:sp>
        <p:nvSpPr>
          <p:cNvPr id="8" name="Text Placeholder 7">
            <a:extLst>
              <a:ext uri="{FF2B5EF4-FFF2-40B4-BE49-F238E27FC236}">
                <a16:creationId xmlns:a16="http://schemas.microsoft.com/office/drawing/2014/main" id="{B2BBD7CB-6860-41AF-93CC-AAE89C8BA5B0}"/>
              </a:ext>
            </a:extLst>
          </p:cNvPr>
          <p:cNvSpPr>
            <a:spLocks noGrp="1"/>
          </p:cNvSpPr>
          <p:nvPr>
            <p:ph type="body" sz="quarter" idx="17"/>
          </p:nvPr>
        </p:nvSpPr>
        <p:spPr>
          <a:xfrm>
            <a:off x="1068064" y="1961479"/>
            <a:ext cx="2962041" cy="1031875"/>
          </a:xfrm>
        </p:spPr>
        <p:txBody>
          <a:bodyPr/>
          <a:lstStyle/>
          <a:p>
            <a:r>
              <a:rPr lang="en-GB" sz="2400" dirty="0"/>
              <a:t>Your volume</a:t>
            </a:r>
          </a:p>
        </p:txBody>
      </p:sp>
      <p:sp>
        <p:nvSpPr>
          <p:cNvPr id="9" name="Text Placeholder 8">
            <a:extLst>
              <a:ext uri="{FF2B5EF4-FFF2-40B4-BE49-F238E27FC236}">
                <a16:creationId xmlns:a16="http://schemas.microsoft.com/office/drawing/2014/main" id="{4698ECA7-FE8F-44B5-AC20-7917ED973634}"/>
              </a:ext>
            </a:extLst>
          </p:cNvPr>
          <p:cNvSpPr>
            <a:spLocks noGrp="1"/>
          </p:cNvSpPr>
          <p:nvPr>
            <p:ph type="body" sz="quarter" idx="21"/>
          </p:nvPr>
        </p:nvSpPr>
        <p:spPr>
          <a:xfrm>
            <a:off x="1207210" y="2811811"/>
            <a:ext cx="3009666" cy="2698946"/>
          </a:xfrm>
        </p:spPr>
        <p:txBody>
          <a:bodyPr/>
          <a:lstStyle/>
          <a:p>
            <a:r>
              <a:rPr lang="en-GB" altLang="en-US" sz="1750" dirty="0"/>
              <a:t>A publishing house can combine all the titles in your portfolio to achieve a bigger target.  All you need to do is ensure we have a list of all the titles and the mailing volume.</a:t>
            </a:r>
          </a:p>
          <a:p>
            <a:r>
              <a:rPr lang="en-GB" altLang="en-US" sz="1750" dirty="0"/>
              <a:t>This total volume then becomes the Matched Volume Target.</a:t>
            </a:r>
          </a:p>
          <a:p>
            <a:r>
              <a:rPr lang="en-GB" altLang="en-US" sz="1750" dirty="0"/>
              <a:t>As long as you achieve 95% of that target you will qualify for the credit.</a:t>
            </a:r>
          </a:p>
        </p:txBody>
      </p:sp>
      <p:sp>
        <p:nvSpPr>
          <p:cNvPr id="6" name="Title 5">
            <a:extLst>
              <a:ext uri="{FF2B5EF4-FFF2-40B4-BE49-F238E27FC236}">
                <a16:creationId xmlns:a16="http://schemas.microsoft.com/office/drawing/2014/main" id="{C4A8E12F-8F4E-4988-96C5-25D51131A5E9}"/>
              </a:ext>
            </a:extLst>
          </p:cNvPr>
          <p:cNvSpPr>
            <a:spLocks noGrp="1"/>
          </p:cNvSpPr>
          <p:nvPr>
            <p:ph type="title"/>
          </p:nvPr>
        </p:nvSpPr>
        <p:spPr/>
        <p:txBody>
          <a:bodyPr/>
          <a:lstStyle/>
          <a:p>
            <a:r>
              <a:rPr lang="en-GB" dirty="0"/>
              <a:t>What you need to know</a:t>
            </a:r>
          </a:p>
        </p:txBody>
      </p:sp>
      <p:sp>
        <p:nvSpPr>
          <p:cNvPr id="7" name="Text Placeholder 6">
            <a:extLst>
              <a:ext uri="{FF2B5EF4-FFF2-40B4-BE49-F238E27FC236}">
                <a16:creationId xmlns:a16="http://schemas.microsoft.com/office/drawing/2014/main" id="{F92AF1C6-CFFC-4493-BA50-1283BF10C0DF}"/>
              </a:ext>
            </a:extLst>
          </p:cNvPr>
          <p:cNvSpPr>
            <a:spLocks noGrp="1"/>
          </p:cNvSpPr>
          <p:nvPr>
            <p:ph type="body" sz="quarter" idx="11"/>
          </p:nvPr>
        </p:nvSpPr>
        <p:spPr/>
        <p:txBody>
          <a:bodyPr/>
          <a:lstStyle/>
          <a:p>
            <a:endParaRPr lang="en-GB"/>
          </a:p>
        </p:txBody>
      </p:sp>
      <p:sp>
        <p:nvSpPr>
          <p:cNvPr id="10" name="Text Placeholder 9">
            <a:extLst>
              <a:ext uri="{FF2B5EF4-FFF2-40B4-BE49-F238E27FC236}">
                <a16:creationId xmlns:a16="http://schemas.microsoft.com/office/drawing/2014/main" id="{09E2C256-0E0A-48A2-B225-EF40F34C14B2}"/>
              </a:ext>
            </a:extLst>
          </p:cNvPr>
          <p:cNvSpPr>
            <a:spLocks noGrp="1"/>
          </p:cNvSpPr>
          <p:nvPr>
            <p:ph type="body" sz="quarter" idx="22"/>
          </p:nvPr>
        </p:nvSpPr>
        <p:spPr>
          <a:xfrm>
            <a:off x="4513281" y="1961479"/>
            <a:ext cx="2962041" cy="1031875"/>
          </a:xfrm>
        </p:spPr>
        <p:txBody>
          <a:bodyPr/>
          <a:lstStyle/>
          <a:p>
            <a:r>
              <a:rPr lang="en-GB" sz="2400" dirty="0"/>
              <a:t>New titles</a:t>
            </a:r>
          </a:p>
        </p:txBody>
      </p:sp>
      <p:sp>
        <p:nvSpPr>
          <p:cNvPr id="11" name="Text Placeholder 10">
            <a:extLst>
              <a:ext uri="{FF2B5EF4-FFF2-40B4-BE49-F238E27FC236}">
                <a16:creationId xmlns:a16="http://schemas.microsoft.com/office/drawing/2014/main" id="{DABCE329-1135-4272-B081-06500D4517F9}"/>
              </a:ext>
            </a:extLst>
          </p:cNvPr>
          <p:cNvSpPr>
            <a:spLocks noGrp="1"/>
          </p:cNvSpPr>
          <p:nvPr>
            <p:ph type="body" sz="quarter" idx="23"/>
          </p:nvPr>
        </p:nvSpPr>
        <p:spPr>
          <a:xfrm>
            <a:off x="4637988" y="2811811"/>
            <a:ext cx="2962041" cy="2698946"/>
          </a:xfrm>
        </p:spPr>
        <p:txBody>
          <a:bodyPr/>
          <a:lstStyle/>
          <a:p>
            <a:r>
              <a:rPr lang="en-GB" altLang="en-US" dirty="0"/>
              <a:t>If you launch a new title whilst the incentive is running you can add this at any time. </a:t>
            </a:r>
          </a:p>
          <a:p>
            <a:r>
              <a:rPr lang="en-GB" altLang="en-US" dirty="0"/>
              <a:t>This will increase your Matched Volume Target and potentially mean you can earn more credits on the greater volume.</a:t>
            </a:r>
          </a:p>
          <a:p>
            <a:r>
              <a:rPr lang="en-GB" altLang="en-US" dirty="0"/>
              <a:t> </a:t>
            </a:r>
            <a:endParaRPr lang="en-GB" dirty="0"/>
          </a:p>
        </p:txBody>
      </p:sp>
      <p:sp>
        <p:nvSpPr>
          <p:cNvPr id="12" name="Text Placeholder 11">
            <a:extLst>
              <a:ext uri="{FF2B5EF4-FFF2-40B4-BE49-F238E27FC236}">
                <a16:creationId xmlns:a16="http://schemas.microsoft.com/office/drawing/2014/main" id="{E0762FB3-3561-48C7-8A68-86520A437B99}"/>
              </a:ext>
            </a:extLst>
          </p:cNvPr>
          <p:cNvSpPr>
            <a:spLocks noGrp="1"/>
          </p:cNvSpPr>
          <p:nvPr>
            <p:ph type="body" sz="quarter" idx="24"/>
          </p:nvPr>
        </p:nvSpPr>
        <p:spPr>
          <a:xfrm>
            <a:off x="7939448" y="1961479"/>
            <a:ext cx="3129645" cy="1031875"/>
          </a:xfrm>
        </p:spPr>
        <p:txBody>
          <a:bodyPr/>
          <a:lstStyle/>
          <a:p>
            <a:r>
              <a:rPr lang="en-GB" sz="2400" dirty="0"/>
              <a:t>How credits awarded</a:t>
            </a:r>
          </a:p>
        </p:txBody>
      </p:sp>
      <p:sp>
        <p:nvSpPr>
          <p:cNvPr id="13" name="Text Placeholder 12">
            <a:extLst>
              <a:ext uri="{FF2B5EF4-FFF2-40B4-BE49-F238E27FC236}">
                <a16:creationId xmlns:a16="http://schemas.microsoft.com/office/drawing/2014/main" id="{7A8B70E2-8DF3-4250-B0A7-4BA261446149}"/>
              </a:ext>
            </a:extLst>
          </p:cNvPr>
          <p:cNvSpPr>
            <a:spLocks noGrp="1"/>
          </p:cNvSpPr>
          <p:nvPr>
            <p:ph type="body" sz="quarter" idx="25"/>
          </p:nvPr>
        </p:nvSpPr>
        <p:spPr>
          <a:xfrm>
            <a:off x="8107052" y="2811811"/>
            <a:ext cx="2962041" cy="2698946"/>
          </a:xfrm>
        </p:spPr>
        <p:txBody>
          <a:bodyPr/>
          <a:lstStyle/>
          <a:p>
            <a:r>
              <a:rPr lang="en-GB" altLang="en-US" dirty="0"/>
              <a:t>You can still continue to use Business Mail or Publishing Mail to mail customers.</a:t>
            </a:r>
          </a:p>
          <a:p>
            <a:r>
              <a:rPr lang="en-GB" altLang="en-US" dirty="0"/>
              <a:t>However the only product that will be subject to credits is Subscription mail.</a:t>
            </a:r>
          </a:p>
          <a:p>
            <a:endParaRPr lang="en-GB" altLang="en-US" dirty="0"/>
          </a:p>
          <a:p>
            <a:endParaRPr lang="en-GB" dirty="0"/>
          </a:p>
        </p:txBody>
      </p:sp>
      <p:sp>
        <p:nvSpPr>
          <p:cNvPr id="14" name="TextBox 13">
            <a:extLst>
              <a:ext uri="{FF2B5EF4-FFF2-40B4-BE49-F238E27FC236}">
                <a16:creationId xmlns:a16="http://schemas.microsoft.com/office/drawing/2014/main" id="{1AABE69D-AF6F-4E08-ADC9-AF6057735321}"/>
              </a:ext>
            </a:extLst>
          </p:cNvPr>
          <p:cNvSpPr txBox="1"/>
          <p:nvPr/>
        </p:nvSpPr>
        <p:spPr>
          <a:xfrm>
            <a:off x="1079081" y="6365069"/>
            <a:ext cx="10047955" cy="430887"/>
          </a:xfrm>
          <a:prstGeom prst="rect">
            <a:avLst/>
          </a:prstGeom>
          <a:noFill/>
        </p:spPr>
        <p:txBody>
          <a:bodyPr wrap="square" rtlCol="0">
            <a:spAutoFit/>
          </a:bodyPr>
          <a:lstStyle/>
          <a:p>
            <a:r>
              <a:rPr lang="en-GB" altLang="en-US" sz="1100" dirty="0"/>
              <a:t>*If any of your publishing mail volume is receiving postage credits from other Royal Mail incentives then the volume may be counted towards the total Matched Volume Target but will not be eligible for postage credits. </a:t>
            </a:r>
          </a:p>
        </p:txBody>
      </p:sp>
      <p:sp>
        <p:nvSpPr>
          <p:cNvPr id="15" name="TextBox 14">
            <a:extLst>
              <a:ext uri="{FF2B5EF4-FFF2-40B4-BE49-F238E27FC236}">
                <a16:creationId xmlns:a16="http://schemas.microsoft.com/office/drawing/2014/main" id="{7649F900-9390-45C5-B84E-8FD0CCC00286}"/>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32940955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p:cNvSpPr>
            <a:spLocks noChangeAspect="1"/>
          </p:cNvSpPr>
          <p:nvPr/>
        </p:nvSpPr>
        <p:spPr>
          <a:xfrm>
            <a:off x="8617167" y="2197134"/>
            <a:ext cx="624548" cy="62454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itle 2"/>
          <p:cNvSpPr>
            <a:spLocks noGrp="1"/>
          </p:cNvSpPr>
          <p:nvPr>
            <p:ph type="title"/>
          </p:nvPr>
        </p:nvSpPr>
        <p:spPr/>
        <p:txBody>
          <a:bodyPr/>
          <a:lstStyle/>
          <a:p>
            <a:r>
              <a:rPr lang="en-GB" dirty="0"/>
              <a:t>The APPLICATION AND CREDIT process</a:t>
            </a:r>
          </a:p>
        </p:txBody>
      </p:sp>
      <p:sp>
        <p:nvSpPr>
          <p:cNvPr id="5" name="Text Placeholder 4">
            <a:extLst>
              <a:ext uri="{FF2B5EF4-FFF2-40B4-BE49-F238E27FC236}">
                <a16:creationId xmlns:a16="http://schemas.microsoft.com/office/drawing/2014/main" id="{478BE780-FEB0-4C0C-8BB2-8AAB84E9CC26}"/>
              </a:ext>
            </a:extLst>
          </p:cNvPr>
          <p:cNvSpPr>
            <a:spLocks noGrp="1"/>
          </p:cNvSpPr>
          <p:nvPr>
            <p:ph type="body" sz="quarter" idx="11"/>
          </p:nvPr>
        </p:nvSpPr>
        <p:spPr/>
        <p:txBody>
          <a:bodyPr/>
          <a:lstStyle/>
          <a:p>
            <a:r>
              <a:rPr lang="en-GB" dirty="0"/>
              <a:t>Offer open until March 28</a:t>
            </a:r>
            <a:r>
              <a:rPr lang="en-GB" baseline="30000" dirty="0"/>
              <a:t>th</a:t>
            </a:r>
            <a:r>
              <a:rPr lang="en-GB" dirty="0"/>
              <a:t> 2025</a:t>
            </a:r>
          </a:p>
        </p:txBody>
      </p:sp>
      <p:sp>
        <p:nvSpPr>
          <p:cNvPr id="23" name="Oval 22"/>
          <p:cNvSpPr>
            <a:spLocks noChangeAspect="1"/>
          </p:cNvSpPr>
          <p:nvPr/>
        </p:nvSpPr>
        <p:spPr>
          <a:xfrm>
            <a:off x="1216085" y="2122302"/>
            <a:ext cx="624548" cy="624548"/>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Block Arc 23"/>
          <p:cNvSpPr>
            <a:spLocks noChangeAspect="1"/>
          </p:cNvSpPr>
          <p:nvPr/>
        </p:nvSpPr>
        <p:spPr>
          <a:xfrm>
            <a:off x="414224" y="2445202"/>
            <a:ext cx="2207250" cy="2207251"/>
          </a:xfrm>
          <a:prstGeom prst="blockArc">
            <a:avLst>
              <a:gd name="adj1" fmla="val 9000000"/>
              <a:gd name="adj2" fmla="val 1800000"/>
              <a:gd name="adj3" fmla="val 3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Block Arc 24"/>
          <p:cNvSpPr>
            <a:spLocks noChangeAspect="1"/>
          </p:cNvSpPr>
          <p:nvPr/>
        </p:nvSpPr>
        <p:spPr>
          <a:xfrm flipV="1">
            <a:off x="2266140" y="3517759"/>
            <a:ext cx="2207250" cy="2207251"/>
          </a:xfrm>
          <a:prstGeom prst="blockArc">
            <a:avLst>
              <a:gd name="adj1" fmla="val 9000000"/>
              <a:gd name="adj2" fmla="val 1800000"/>
              <a:gd name="adj3" fmla="val 3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Block Arc 25"/>
          <p:cNvSpPr>
            <a:spLocks noChangeAspect="1"/>
          </p:cNvSpPr>
          <p:nvPr/>
        </p:nvSpPr>
        <p:spPr>
          <a:xfrm>
            <a:off x="4120020" y="2445202"/>
            <a:ext cx="2207250" cy="2207251"/>
          </a:xfrm>
          <a:prstGeom prst="blockArc">
            <a:avLst>
              <a:gd name="adj1" fmla="val 9000000"/>
              <a:gd name="adj2" fmla="val 1800000"/>
              <a:gd name="adj3" fmla="val 3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Block Arc 26"/>
          <p:cNvSpPr>
            <a:spLocks noChangeAspect="1"/>
          </p:cNvSpPr>
          <p:nvPr/>
        </p:nvSpPr>
        <p:spPr>
          <a:xfrm flipV="1">
            <a:off x="5977077" y="3512996"/>
            <a:ext cx="2207250" cy="2207251"/>
          </a:xfrm>
          <a:prstGeom prst="blockArc">
            <a:avLst>
              <a:gd name="adj1" fmla="val 9000000"/>
              <a:gd name="adj2" fmla="val 1800000"/>
              <a:gd name="adj3" fmla="val 3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Block Arc 27"/>
          <p:cNvSpPr>
            <a:spLocks noChangeAspect="1"/>
          </p:cNvSpPr>
          <p:nvPr/>
        </p:nvSpPr>
        <p:spPr>
          <a:xfrm>
            <a:off x="7836324" y="2445202"/>
            <a:ext cx="2207250" cy="2207251"/>
          </a:xfrm>
          <a:prstGeom prst="blockArc">
            <a:avLst>
              <a:gd name="adj1" fmla="val 9000000"/>
              <a:gd name="adj2" fmla="val 1800000"/>
              <a:gd name="adj3" fmla="val 3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Oval 28"/>
          <p:cNvSpPr>
            <a:spLocks noChangeAspect="1"/>
          </p:cNvSpPr>
          <p:nvPr/>
        </p:nvSpPr>
        <p:spPr>
          <a:xfrm>
            <a:off x="3016429" y="5366323"/>
            <a:ext cx="624548" cy="6245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Oval 29"/>
          <p:cNvSpPr>
            <a:spLocks noChangeAspect="1"/>
          </p:cNvSpPr>
          <p:nvPr/>
        </p:nvSpPr>
        <p:spPr>
          <a:xfrm>
            <a:off x="4890351" y="2164342"/>
            <a:ext cx="624548" cy="6245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Oval 30"/>
          <p:cNvSpPr>
            <a:spLocks noChangeAspect="1"/>
          </p:cNvSpPr>
          <p:nvPr/>
        </p:nvSpPr>
        <p:spPr>
          <a:xfrm>
            <a:off x="6816324" y="5326321"/>
            <a:ext cx="624548" cy="62454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8" name="Paper_plane" descr="{&quot;Key&quot;:&quot;POWER_USER_SHAPE_ICON&quot;,&quot;Value&quot;:&quot;POWER_USER_SHAPE_ICON_STYLE_1&quot;}"/>
          <p:cNvSpPr>
            <a:spLocks noChangeAspect="1"/>
          </p:cNvSpPr>
          <p:nvPr>
            <p:custDataLst>
              <p:tags r:id="rId1"/>
            </p:custDataLst>
          </p:nvPr>
        </p:nvSpPr>
        <p:spPr bwMode="auto">
          <a:xfrm>
            <a:off x="5011448" y="2286098"/>
            <a:ext cx="421847" cy="370825"/>
          </a:xfrm>
          <a:custGeom>
            <a:avLst/>
            <a:gdLst>
              <a:gd name="T0" fmla="*/ 29 w 1232"/>
              <a:gd name="T1" fmla="*/ 8 h 1080"/>
              <a:gd name="T2" fmla="*/ 4 w 1232"/>
              <a:gd name="T3" fmla="*/ 29 h 1080"/>
              <a:gd name="T4" fmla="*/ 234 w 1232"/>
              <a:gd name="T5" fmla="*/ 1055 h 1080"/>
              <a:gd name="T6" fmla="*/ 271 w 1232"/>
              <a:gd name="T7" fmla="*/ 1069 h 1080"/>
              <a:gd name="T8" fmla="*/ 541 w 1232"/>
              <a:gd name="T9" fmla="*/ 880 h 1080"/>
              <a:gd name="T10" fmla="*/ 590 w 1232"/>
              <a:gd name="T11" fmla="*/ 889 h 1080"/>
              <a:gd name="T12" fmla="*/ 679 w 1232"/>
              <a:gd name="T13" fmla="*/ 1020 h 1080"/>
              <a:gd name="T14" fmla="*/ 711 w 1232"/>
              <a:gd name="T15" fmla="*/ 1016 h 1080"/>
              <a:gd name="T16" fmla="*/ 820 w 1232"/>
              <a:gd name="T17" fmla="*/ 722 h 1080"/>
              <a:gd name="T18" fmla="*/ 810 w 1232"/>
              <a:gd name="T19" fmla="*/ 717 h 1080"/>
              <a:gd name="T20" fmla="*/ 771 w 1232"/>
              <a:gd name="T21" fmla="*/ 765 h 1080"/>
              <a:gd name="T22" fmla="*/ 713 w 1232"/>
              <a:gd name="T23" fmla="*/ 794 h 1080"/>
              <a:gd name="T24" fmla="*/ 699 w 1232"/>
              <a:gd name="T25" fmla="*/ 794 h 1080"/>
              <a:gd name="T26" fmla="*/ 641 w 1232"/>
              <a:gd name="T27" fmla="*/ 767 h 1080"/>
              <a:gd name="T28" fmla="*/ 201 w 1232"/>
              <a:gd name="T29" fmla="*/ 211 h 1080"/>
              <a:gd name="T30" fmla="*/ 207 w 1232"/>
              <a:gd name="T31" fmla="*/ 205 h 1080"/>
              <a:gd name="T32" fmla="*/ 804 w 1232"/>
              <a:gd name="T33" fmla="*/ 667 h 1080"/>
              <a:gd name="T34" fmla="*/ 865 w 1232"/>
              <a:gd name="T35" fmla="*/ 677 h 1080"/>
              <a:gd name="T36" fmla="*/ 1213 w 1232"/>
              <a:gd name="T37" fmla="*/ 554 h 1080"/>
              <a:gd name="T38" fmla="*/ 1214 w 1232"/>
              <a:gd name="T39" fmla="*/ 527 h 1080"/>
              <a:gd name="T40" fmla="*/ 29 w 1232"/>
              <a:gd name="T41" fmla="*/ 8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2" h="1080">
                <a:moveTo>
                  <a:pt x="29" y="8"/>
                </a:moveTo>
                <a:cubicBezTo>
                  <a:pt x="11" y="0"/>
                  <a:pt x="0" y="10"/>
                  <a:pt x="4" y="29"/>
                </a:cubicBezTo>
                <a:lnTo>
                  <a:pt x="234" y="1055"/>
                </a:lnTo>
                <a:cubicBezTo>
                  <a:pt x="239" y="1074"/>
                  <a:pt x="255" y="1080"/>
                  <a:pt x="271" y="1069"/>
                </a:cubicBezTo>
                <a:lnTo>
                  <a:pt x="541" y="880"/>
                </a:lnTo>
                <a:cubicBezTo>
                  <a:pt x="557" y="869"/>
                  <a:pt x="579" y="873"/>
                  <a:pt x="590" y="889"/>
                </a:cubicBezTo>
                <a:lnTo>
                  <a:pt x="679" y="1020"/>
                </a:lnTo>
                <a:cubicBezTo>
                  <a:pt x="689" y="1036"/>
                  <a:pt x="704" y="1035"/>
                  <a:pt x="711" y="1016"/>
                </a:cubicBezTo>
                <a:lnTo>
                  <a:pt x="820" y="722"/>
                </a:lnTo>
                <a:cubicBezTo>
                  <a:pt x="826" y="704"/>
                  <a:pt x="822" y="702"/>
                  <a:pt x="810" y="717"/>
                </a:cubicBezTo>
                <a:lnTo>
                  <a:pt x="771" y="765"/>
                </a:lnTo>
                <a:cubicBezTo>
                  <a:pt x="758" y="780"/>
                  <a:pt x="732" y="793"/>
                  <a:pt x="713" y="794"/>
                </a:cubicBezTo>
                <a:lnTo>
                  <a:pt x="699" y="794"/>
                </a:lnTo>
                <a:cubicBezTo>
                  <a:pt x="679" y="794"/>
                  <a:pt x="653" y="782"/>
                  <a:pt x="641" y="767"/>
                </a:cubicBezTo>
                <a:lnTo>
                  <a:pt x="201" y="211"/>
                </a:lnTo>
                <a:cubicBezTo>
                  <a:pt x="189" y="196"/>
                  <a:pt x="191" y="193"/>
                  <a:pt x="207" y="205"/>
                </a:cubicBezTo>
                <a:lnTo>
                  <a:pt x="804" y="667"/>
                </a:lnTo>
                <a:cubicBezTo>
                  <a:pt x="819" y="679"/>
                  <a:pt x="847" y="684"/>
                  <a:pt x="865" y="677"/>
                </a:cubicBezTo>
                <a:lnTo>
                  <a:pt x="1213" y="554"/>
                </a:lnTo>
                <a:cubicBezTo>
                  <a:pt x="1231" y="547"/>
                  <a:pt x="1232" y="535"/>
                  <a:pt x="1214" y="527"/>
                </a:cubicBezTo>
                <a:lnTo>
                  <a:pt x="29"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49" name="Plane" descr="{&quot;Key&quot;:&quot;POWER_USER_SHAPE_ICON&quot;,&quot;Value&quot;:&quot;POWER_USER_SHAPE_ICON_STYLE_1&quot;}"/>
          <p:cNvGrpSpPr>
            <a:grpSpLocks noChangeAspect="1"/>
          </p:cNvGrpSpPr>
          <p:nvPr>
            <p:custDataLst>
              <p:tags r:id="rId2"/>
            </p:custDataLst>
          </p:nvPr>
        </p:nvGrpSpPr>
        <p:grpSpPr bwMode="auto">
          <a:xfrm>
            <a:off x="7999164" y="5786751"/>
            <a:ext cx="383028" cy="9691"/>
            <a:chOff x="2478" y="2188"/>
            <a:chExt cx="2648" cy="67"/>
          </a:xfrm>
          <a:solidFill>
            <a:schemeClr val="accent3"/>
          </a:solidFill>
        </p:grpSpPr>
        <p:sp>
          <p:nvSpPr>
            <p:cNvPr id="50" name="Freeform 487"/>
            <p:cNvSpPr>
              <a:spLocks/>
            </p:cNvSpPr>
            <p:nvPr/>
          </p:nvSpPr>
          <p:spPr bwMode="auto">
            <a:xfrm>
              <a:off x="2478" y="2188"/>
              <a:ext cx="0" cy="31"/>
            </a:xfrm>
            <a:custGeom>
              <a:avLst/>
              <a:gdLst>
                <a:gd name="T0" fmla="*/ 0 h 8"/>
                <a:gd name="T1" fmla="*/ 8 h 8"/>
                <a:gd name="T2" fmla="*/ 6 h 8"/>
                <a:gd name="T3" fmla="*/ 0 h 8"/>
              </a:gdLst>
              <a:ahLst/>
              <a:cxnLst>
                <a:cxn ang="0">
                  <a:pos x="0" y="T0"/>
                </a:cxn>
                <a:cxn ang="0">
                  <a:pos x="0" y="T1"/>
                </a:cxn>
                <a:cxn ang="0">
                  <a:pos x="0" y="T2"/>
                </a:cxn>
                <a:cxn ang="0">
                  <a:pos x="0" y="T3"/>
                </a:cxn>
              </a:cxnLst>
              <a:rect l="0" t="0" r="r" b="b"/>
              <a:pathLst>
                <a:path h="8">
                  <a:moveTo>
                    <a:pt x="0" y="0"/>
                  </a:moveTo>
                  <a:lnTo>
                    <a:pt x="0" y="8"/>
                  </a:lnTo>
                  <a:cubicBezTo>
                    <a:pt x="0" y="7"/>
                    <a:pt x="0" y="7"/>
                    <a:pt x="0" y="6"/>
                  </a:cubicBezTo>
                  <a:cubicBezTo>
                    <a:pt x="0" y="4"/>
                    <a:pt x="0" y="2"/>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 name="Freeform 490"/>
            <p:cNvSpPr>
              <a:spLocks/>
            </p:cNvSpPr>
            <p:nvPr/>
          </p:nvSpPr>
          <p:spPr bwMode="auto">
            <a:xfrm>
              <a:off x="5122" y="2211"/>
              <a:ext cx="4" cy="44"/>
            </a:xfrm>
            <a:custGeom>
              <a:avLst/>
              <a:gdLst>
                <a:gd name="T0" fmla="*/ 0 w 1"/>
                <a:gd name="T1" fmla="*/ 8 h 11"/>
                <a:gd name="T2" fmla="*/ 1 w 1"/>
                <a:gd name="T3" fmla="*/ 11 h 11"/>
                <a:gd name="T4" fmla="*/ 1 w 1"/>
                <a:gd name="T5" fmla="*/ 2 h 11"/>
                <a:gd name="T6" fmla="*/ 1 w 1"/>
                <a:gd name="T7" fmla="*/ 0 h 11"/>
                <a:gd name="T8" fmla="*/ 0 w 1"/>
                <a:gd name="T9" fmla="*/ 8 h 11"/>
              </a:gdLst>
              <a:ahLst/>
              <a:cxnLst>
                <a:cxn ang="0">
                  <a:pos x="T0" y="T1"/>
                </a:cxn>
                <a:cxn ang="0">
                  <a:pos x="T2" y="T3"/>
                </a:cxn>
                <a:cxn ang="0">
                  <a:pos x="T4" y="T5"/>
                </a:cxn>
                <a:cxn ang="0">
                  <a:pos x="T6" y="T7"/>
                </a:cxn>
                <a:cxn ang="0">
                  <a:pos x="T8" y="T9"/>
                </a:cxn>
              </a:cxnLst>
              <a:rect l="0" t="0" r="r" b="b"/>
              <a:pathLst>
                <a:path w="1" h="11">
                  <a:moveTo>
                    <a:pt x="0" y="8"/>
                  </a:moveTo>
                  <a:cubicBezTo>
                    <a:pt x="0" y="9"/>
                    <a:pt x="1" y="10"/>
                    <a:pt x="1" y="11"/>
                  </a:cubicBezTo>
                  <a:cubicBezTo>
                    <a:pt x="1" y="8"/>
                    <a:pt x="1" y="5"/>
                    <a:pt x="1" y="2"/>
                  </a:cubicBezTo>
                  <a:cubicBezTo>
                    <a:pt x="1" y="1"/>
                    <a:pt x="1" y="1"/>
                    <a:pt x="1" y="0"/>
                  </a:cubicBezTo>
                  <a:cubicBezTo>
                    <a:pt x="1" y="3"/>
                    <a:pt x="1" y="5"/>
                    <a:pt x="0"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 name="Freeform 491"/>
            <p:cNvSpPr>
              <a:spLocks/>
            </p:cNvSpPr>
            <p:nvPr/>
          </p:nvSpPr>
          <p:spPr bwMode="auto">
            <a:xfrm>
              <a:off x="2478" y="2211"/>
              <a:ext cx="0" cy="44"/>
            </a:xfrm>
            <a:custGeom>
              <a:avLst/>
              <a:gdLst>
                <a:gd name="T0" fmla="*/ 0 h 11"/>
                <a:gd name="T1" fmla="*/ 2 h 11"/>
                <a:gd name="T2" fmla="*/ 11 h 11"/>
                <a:gd name="T3" fmla="*/ 8 h 11"/>
                <a:gd name="T4" fmla="*/ 0 h 11"/>
              </a:gdLst>
              <a:ahLst/>
              <a:cxnLst>
                <a:cxn ang="0">
                  <a:pos x="0" y="T0"/>
                </a:cxn>
                <a:cxn ang="0">
                  <a:pos x="0" y="T1"/>
                </a:cxn>
                <a:cxn ang="0">
                  <a:pos x="0" y="T2"/>
                </a:cxn>
                <a:cxn ang="0">
                  <a:pos x="0" y="T3"/>
                </a:cxn>
                <a:cxn ang="0">
                  <a:pos x="0" y="T4"/>
                </a:cxn>
              </a:cxnLst>
              <a:rect l="0" t="0" r="r" b="b"/>
              <a:pathLst>
                <a:path h="11">
                  <a:moveTo>
                    <a:pt x="0" y="0"/>
                  </a:moveTo>
                  <a:cubicBezTo>
                    <a:pt x="0" y="1"/>
                    <a:pt x="0" y="1"/>
                    <a:pt x="0" y="2"/>
                  </a:cubicBezTo>
                  <a:cubicBezTo>
                    <a:pt x="0" y="5"/>
                    <a:pt x="0" y="8"/>
                    <a:pt x="0" y="11"/>
                  </a:cubicBezTo>
                  <a:cubicBezTo>
                    <a:pt x="0" y="10"/>
                    <a:pt x="0" y="9"/>
                    <a:pt x="0" y="8"/>
                  </a:cubicBezTo>
                  <a:cubicBezTo>
                    <a:pt x="0" y="5"/>
                    <a:pt x="0" y="3"/>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58" name="Graphic 57" descr="Chat RTL">
            <a:extLst>
              <a:ext uri="{FF2B5EF4-FFF2-40B4-BE49-F238E27FC236}">
                <a16:creationId xmlns:a16="http://schemas.microsoft.com/office/drawing/2014/main" id="{F7BAF3BE-CF02-4295-851F-30A55D9A235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70281" y="2186624"/>
            <a:ext cx="516155" cy="516155"/>
          </a:xfrm>
          <a:prstGeom prst="rect">
            <a:avLst/>
          </a:prstGeom>
        </p:spPr>
      </p:pic>
      <p:sp>
        <p:nvSpPr>
          <p:cNvPr id="7" name="Rectangle 6">
            <a:extLst>
              <a:ext uri="{FF2B5EF4-FFF2-40B4-BE49-F238E27FC236}">
                <a16:creationId xmlns:a16="http://schemas.microsoft.com/office/drawing/2014/main" id="{C33C76C6-7704-4F8A-9F92-B4B4DE666D1B}"/>
              </a:ext>
            </a:extLst>
          </p:cNvPr>
          <p:cNvSpPr/>
          <p:nvPr/>
        </p:nvSpPr>
        <p:spPr>
          <a:xfrm>
            <a:off x="543959" y="2771731"/>
            <a:ext cx="1930922" cy="1815882"/>
          </a:xfrm>
          <a:prstGeom prst="rect">
            <a:avLst/>
          </a:prstGeom>
        </p:spPr>
        <p:txBody>
          <a:bodyPr wrap="square">
            <a:spAutoFit/>
          </a:bodyPr>
          <a:lstStyle/>
          <a:p>
            <a:pPr lvl="0" algn="ctr">
              <a:defRPr/>
            </a:pPr>
            <a:r>
              <a:rPr lang="en-GB" sz="1400" b="1" dirty="0"/>
              <a:t>GET IN TOUCH</a:t>
            </a:r>
          </a:p>
          <a:p>
            <a:pPr lvl="0" algn="ctr">
              <a:defRPr/>
            </a:pPr>
            <a:r>
              <a:rPr lang="en-GB" sz="1400" dirty="0">
                <a:solidFill>
                  <a:prstClr val="black">
                    <a:lumMod val="85000"/>
                    <a:lumOff val="15000"/>
                  </a:prstClr>
                </a:solidFill>
              </a:rPr>
              <a:t>Speak to your Account Manager to make sure you are applying for the best incentive for your needs and to check that you meet the requirements.</a:t>
            </a:r>
          </a:p>
        </p:txBody>
      </p:sp>
      <p:sp>
        <p:nvSpPr>
          <p:cNvPr id="59" name="TextBox 58">
            <a:extLst>
              <a:ext uri="{FF2B5EF4-FFF2-40B4-BE49-F238E27FC236}">
                <a16:creationId xmlns:a16="http://schemas.microsoft.com/office/drawing/2014/main" id="{AE28A3CC-4321-4F17-B169-CEE67A79DA7F}"/>
              </a:ext>
            </a:extLst>
          </p:cNvPr>
          <p:cNvSpPr txBox="1"/>
          <p:nvPr/>
        </p:nvSpPr>
        <p:spPr>
          <a:xfrm>
            <a:off x="2461277" y="3994485"/>
            <a:ext cx="1782904" cy="1384995"/>
          </a:xfrm>
          <a:prstGeom prst="rect">
            <a:avLst/>
          </a:prstGeom>
          <a:noFill/>
        </p:spPr>
        <p:txBody>
          <a:bodyPr wrap="square">
            <a:spAutoFit/>
          </a:bodyPr>
          <a:lstStyle/>
          <a:p>
            <a:pPr lvl="0" algn="ctr">
              <a:defRPr/>
            </a:pPr>
            <a:r>
              <a:rPr lang="en-GB" sz="1400" b="1" dirty="0"/>
              <a:t>APPLY ONLINE</a:t>
            </a:r>
          </a:p>
          <a:p>
            <a:pPr lvl="0" algn="ctr">
              <a:defRPr/>
            </a:pPr>
            <a:r>
              <a:rPr lang="en-GB" sz="1400" dirty="0"/>
              <a:t>Use the link to the online application.  Your application can also be completed by an agent.</a:t>
            </a:r>
          </a:p>
        </p:txBody>
      </p:sp>
      <p:pic>
        <p:nvPicPr>
          <p:cNvPr id="60" name="Graphic 59" descr="Internet">
            <a:extLst>
              <a:ext uri="{FF2B5EF4-FFF2-40B4-BE49-F238E27FC236}">
                <a16:creationId xmlns:a16="http://schemas.microsoft.com/office/drawing/2014/main" id="{D57C94B7-CB27-4EE6-A983-BDB9CEFEE2E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075097" y="5413812"/>
            <a:ext cx="516155" cy="516155"/>
          </a:xfrm>
          <a:prstGeom prst="rect">
            <a:avLst/>
          </a:prstGeom>
        </p:spPr>
      </p:pic>
      <p:sp>
        <p:nvSpPr>
          <p:cNvPr id="61" name="TextBox 60">
            <a:extLst>
              <a:ext uri="{FF2B5EF4-FFF2-40B4-BE49-F238E27FC236}">
                <a16:creationId xmlns:a16="http://schemas.microsoft.com/office/drawing/2014/main" id="{AC542342-D167-456C-99F8-02C7F5AED8A4}"/>
              </a:ext>
            </a:extLst>
          </p:cNvPr>
          <p:cNvSpPr txBox="1"/>
          <p:nvPr/>
        </p:nvSpPr>
        <p:spPr>
          <a:xfrm>
            <a:off x="4227469" y="2885453"/>
            <a:ext cx="2003771" cy="954107"/>
          </a:xfrm>
          <a:prstGeom prst="rect">
            <a:avLst/>
          </a:prstGeom>
          <a:noFill/>
        </p:spPr>
        <p:txBody>
          <a:bodyPr wrap="square">
            <a:spAutoFit/>
          </a:bodyPr>
          <a:lstStyle/>
          <a:p>
            <a:pPr algn="ctr">
              <a:defRPr/>
            </a:pPr>
            <a:r>
              <a:rPr lang="en-GB" sz="1400" b="1" dirty="0"/>
              <a:t>WE’LL GET IN TOUCH</a:t>
            </a:r>
          </a:p>
          <a:p>
            <a:pPr algn="ctr">
              <a:defRPr/>
            </a:pPr>
            <a:r>
              <a:rPr lang="en-GB" sz="1400" dirty="0">
                <a:solidFill>
                  <a:schemeClr val="tx1">
                    <a:lumMod val="85000"/>
                    <a:lumOff val="15000"/>
                  </a:schemeClr>
                </a:solidFill>
              </a:rPr>
              <a:t>To discuss your application and check all the detail with you.</a:t>
            </a:r>
          </a:p>
        </p:txBody>
      </p:sp>
      <p:sp>
        <p:nvSpPr>
          <p:cNvPr id="62" name="TextBox 61">
            <a:extLst>
              <a:ext uri="{FF2B5EF4-FFF2-40B4-BE49-F238E27FC236}">
                <a16:creationId xmlns:a16="http://schemas.microsoft.com/office/drawing/2014/main" id="{5F831B4F-F710-438A-ACC4-EE50252F4A0D}"/>
              </a:ext>
            </a:extLst>
          </p:cNvPr>
          <p:cNvSpPr txBox="1"/>
          <p:nvPr/>
        </p:nvSpPr>
        <p:spPr>
          <a:xfrm>
            <a:off x="6098662" y="4534324"/>
            <a:ext cx="1992725" cy="738664"/>
          </a:xfrm>
          <a:prstGeom prst="rect">
            <a:avLst/>
          </a:prstGeom>
          <a:noFill/>
        </p:spPr>
        <p:txBody>
          <a:bodyPr wrap="square">
            <a:spAutoFit/>
          </a:bodyPr>
          <a:lstStyle/>
          <a:p>
            <a:pPr algn="ctr">
              <a:defRPr/>
            </a:pPr>
            <a:r>
              <a:rPr lang="en-GB" sz="1400" b="1" dirty="0"/>
              <a:t>POST YOUR MAILINGS</a:t>
            </a:r>
            <a:endParaRPr lang="en-GB" sz="1400" dirty="0"/>
          </a:p>
          <a:p>
            <a:pPr algn="ctr">
              <a:defRPr/>
            </a:pPr>
            <a:r>
              <a:rPr lang="en-GB" sz="1400" dirty="0">
                <a:solidFill>
                  <a:srgbClr val="000000">
                    <a:lumMod val="85000"/>
                    <a:lumOff val="15000"/>
                  </a:srgbClr>
                </a:solidFill>
              </a:rPr>
              <a:t>Start posting your volume</a:t>
            </a:r>
          </a:p>
        </p:txBody>
      </p:sp>
      <p:sp>
        <p:nvSpPr>
          <p:cNvPr id="63" name="TextBox 62">
            <a:extLst>
              <a:ext uri="{FF2B5EF4-FFF2-40B4-BE49-F238E27FC236}">
                <a16:creationId xmlns:a16="http://schemas.microsoft.com/office/drawing/2014/main" id="{7648C0B9-583F-4FE7-9927-5A9CB38EBFCE}"/>
              </a:ext>
            </a:extLst>
          </p:cNvPr>
          <p:cNvSpPr txBox="1"/>
          <p:nvPr/>
        </p:nvSpPr>
        <p:spPr>
          <a:xfrm>
            <a:off x="9814795" y="3612037"/>
            <a:ext cx="1975346" cy="1600438"/>
          </a:xfrm>
          <a:prstGeom prst="rect">
            <a:avLst/>
          </a:prstGeom>
          <a:noFill/>
        </p:spPr>
        <p:txBody>
          <a:bodyPr wrap="square">
            <a:spAutoFit/>
          </a:bodyPr>
          <a:lstStyle/>
          <a:p>
            <a:pPr algn="ctr">
              <a:defRPr/>
            </a:pPr>
            <a:r>
              <a:rPr lang="en-GB" sz="1400" b="1" dirty="0"/>
              <a:t>REDEEM YOUR </a:t>
            </a:r>
          </a:p>
          <a:p>
            <a:pPr algn="ctr">
              <a:defRPr/>
            </a:pPr>
            <a:r>
              <a:rPr lang="en-GB" sz="1400" b="1" dirty="0"/>
              <a:t>CREDIT</a:t>
            </a:r>
          </a:p>
          <a:p>
            <a:pPr algn="ctr"/>
            <a:r>
              <a:rPr lang="en-GB" sz="1400" dirty="0"/>
              <a:t>Receive your credit as a voucher or have it paid into a Royal Mail postage account. Credit vouchers are valid for 12 months.</a:t>
            </a:r>
          </a:p>
        </p:txBody>
      </p:sp>
      <p:sp>
        <p:nvSpPr>
          <p:cNvPr id="64" name="TextBox 63">
            <a:extLst>
              <a:ext uri="{FF2B5EF4-FFF2-40B4-BE49-F238E27FC236}">
                <a16:creationId xmlns:a16="http://schemas.microsoft.com/office/drawing/2014/main" id="{7E12C007-524B-4D62-875F-4E878A833B6E}"/>
              </a:ext>
            </a:extLst>
          </p:cNvPr>
          <p:cNvSpPr txBox="1"/>
          <p:nvPr/>
        </p:nvSpPr>
        <p:spPr>
          <a:xfrm>
            <a:off x="7989307" y="2832618"/>
            <a:ext cx="1923017" cy="1384995"/>
          </a:xfrm>
          <a:prstGeom prst="rect">
            <a:avLst/>
          </a:prstGeom>
          <a:noFill/>
        </p:spPr>
        <p:txBody>
          <a:bodyPr wrap="square">
            <a:spAutoFit/>
          </a:bodyPr>
          <a:lstStyle/>
          <a:p>
            <a:pPr algn="ctr">
              <a:defRPr/>
            </a:pPr>
            <a:r>
              <a:rPr lang="en-GB" sz="1400" b="1" dirty="0"/>
              <a:t>VOLUME NOTIFICATION</a:t>
            </a:r>
            <a:endParaRPr lang="en-GB" sz="1400" dirty="0"/>
          </a:p>
          <a:p>
            <a:pPr algn="ctr">
              <a:defRPr/>
            </a:pPr>
            <a:r>
              <a:rPr lang="en-GB" sz="1400" dirty="0">
                <a:solidFill>
                  <a:srgbClr val="000000">
                    <a:lumMod val="85000"/>
                    <a:lumOff val="15000"/>
                  </a:srgbClr>
                </a:solidFill>
              </a:rPr>
              <a:t>We will review your credit at the end of the 12 month incentive period</a:t>
            </a:r>
          </a:p>
        </p:txBody>
      </p:sp>
      <p:sp>
        <p:nvSpPr>
          <p:cNvPr id="65" name="Block Arc 64">
            <a:extLst>
              <a:ext uri="{FF2B5EF4-FFF2-40B4-BE49-F238E27FC236}">
                <a16:creationId xmlns:a16="http://schemas.microsoft.com/office/drawing/2014/main" id="{47250E8A-DFBF-4799-B45D-F7981BA35235}"/>
              </a:ext>
            </a:extLst>
          </p:cNvPr>
          <p:cNvSpPr>
            <a:spLocks noChangeAspect="1"/>
          </p:cNvSpPr>
          <p:nvPr/>
        </p:nvSpPr>
        <p:spPr>
          <a:xfrm flipV="1">
            <a:off x="9694062" y="3515685"/>
            <a:ext cx="2207250" cy="2207251"/>
          </a:xfrm>
          <a:prstGeom prst="blockArc">
            <a:avLst>
              <a:gd name="adj1" fmla="val 9000000"/>
              <a:gd name="adj2" fmla="val 1800000"/>
              <a:gd name="adj3" fmla="val 3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66" name="Graphic 65" descr="Envelope">
            <a:extLst>
              <a:ext uri="{FF2B5EF4-FFF2-40B4-BE49-F238E27FC236}">
                <a16:creationId xmlns:a16="http://schemas.microsoft.com/office/drawing/2014/main" id="{7D3C5CDC-134E-45C2-9CA3-98E50854186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891475" y="5412396"/>
            <a:ext cx="469232" cy="469232"/>
          </a:xfrm>
          <a:prstGeom prst="rect">
            <a:avLst/>
          </a:prstGeom>
        </p:spPr>
      </p:pic>
      <p:sp>
        <p:nvSpPr>
          <p:cNvPr id="67" name="Oval 66">
            <a:extLst>
              <a:ext uri="{FF2B5EF4-FFF2-40B4-BE49-F238E27FC236}">
                <a16:creationId xmlns:a16="http://schemas.microsoft.com/office/drawing/2014/main" id="{913C6EC6-DAC1-48BD-808A-DE350BC8D7F2}"/>
              </a:ext>
            </a:extLst>
          </p:cNvPr>
          <p:cNvSpPr>
            <a:spLocks noChangeAspect="1"/>
          </p:cNvSpPr>
          <p:nvPr/>
        </p:nvSpPr>
        <p:spPr>
          <a:xfrm>
            <a:off x="10543140" y="5362902"/>
            <a:ext cx="624548" cy="62454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69" name="Plus" descr="{&quot;Key&quot;:&quot;POWER_USER_SHAPE_ICON&quot;,&quot;Value&quot;:&quot;POWER_USER_SHAPE_ICON_STYLE_1&quot;}">
            <a:extLst>
              <a:ext uri="{FF2B5EF4-FFF2-40B4-BE49-F238E27FC236}">
                <a16:creationId xmlns:a16="http://schemas.microsoft.com/office/drawing/2014/main" id="{F5981FD6-2A17-4EED-AE70-67147C51AE8A}"/>
              </a:ext>
            </a:extLst>
          </p:cNvPr>
          <p:cNvGrpSpPr>
            <a:grpSpLocks noChangeAspect="1"/>
          </p:cNvGrpSpPr>
          <p:nvPr>
            <p:custDataLst>
              <p:tags r:id="rId3"/>
            </p:custDataLst>
          </p:nvPr>
        </p:nvGrpSpPr>
        <p:grpSpPr bwMode="auto">
          <a:xfrm>
            <a:off x="8726087" y="2304543"/>
            <a:ext cx="406708" cy="407907"/>
            <a:chOff x="50" y="50"/>
            <a:chExt cx="339" cy="340"/>
          </a:xfrm>
          <a:solidFill>
            <a:schemeClr val="bg1"/>
          </a:solidFill>
        </p:grpSpPr>
        <p:sp>
          <p:nvSpPr>
            <p:cNvPr id="70" name="Plus">
              <a:extLst>
                <a:ext uri="{FF2B5EF4-FFF2-40B4-BE49-F238E27FC236}">
                  <a16:creationId xmlns:a16="http://schemas.microsoft.com/office/drawing/2014/main" id="{4096E986-0D81-4E3F-B80C-1F24D44CF323}"/>
                </a:ext>
              </a:extLst>
            </p:cNvPr>
            <p:cNvSpPr>
              <a:spLocks/>
            </p:cNvSpPr>
            <p:nvPr>
              <p:custDataLst>
                <p:tags r:id="rId5"/>
              </p:custDataLst>
            </p:nvPr>
          </p:nvSpPr>
          <p:spPr bwMode="auto">
            <a:xfrm>
              <a:off x="135" y="135"/>
              <a:ext cx="169" cy="170"/>
            </a:xfrm>
            <a:custGeom>
              <a:avLst/>
              <a:gdLst>
                <a:gd name="T0" fmla="*/ 50 w 100"/>
                <a:gd name="T1" fmla="*/ 100 h 100"/>
                <a:gd name="T2" fmla="*/ 63 w 100"/>
                <a:gd name="T3" fmla="*/ 88 h 100"/>
                <a:gd name="T4" fmla="*/ 63 w 100"/>
                <a:gd name="T5" fmla="*/ 63 h 100"/>
                <a:gd name="T6" fmla="*/ 88 w 100"/>
                <a:gd name="T7" fmla="*/ 63 h 100"/>
                <a:gd name="T8" fmla="*/ 100 w 100"/>
                <a:gd name="T9" fmla="*/ 50 h 100"/>
                <a:gd name="T10" fmla="*/ 88 w 100"/>
                <a:gd name="T11" fmla="*/ 38 h 100"/>
                <a:gd name="T12" fmla="*/ 63 w 100"/>
                <a:gd name="T13" fmla="*/ 38 h 100"/>
                <a:gd name="T14" fmla="*/ 63 w 100"/>
                <a:gd name="T15" fmla="*/ 13 h 100"/>
                <a:gd name="T16" fmla="*/ 50 w 100"/>
                <a:gd name="T17" fmla="*/ 0 h 100"/>
                <a:gd name="T18" fmla="*/ 38 w 100"/>
                <a:gd name="T19" fmla="*/ 13 h 100"/>
                <a:gd name="T20" fmla="*/ 38 w 100"/>
                <a:gd name="T21" fmla="*/ 38 h 100"/>
                <a:gd name="T22" fmla="*/ 13 w 100"/>
                <a:gd name="T23" fmla="*/ 38 h 100"/>
                <a:gd name="T24" fmla="*/ 0 w 100"/>
                <a:gd name="T25" fmla="*/ 50 h 100"/>
                <a:gd name="T26" fmla="*/ 13 w 100"/>
                <a:gd name="T27" fmla="*/ 63 h 100"/>
                <a:gd name="T28" fmla="*/ 38 w 100"/>
                <a:gd name="T29" fmla="*/ 63 h 100"/>
                <a:gd name="T30" fmla="*/ 38 w 100"/>
                <a:gd name="T31" fmla="*/ 88 h 100"/>
                <a:gd name="T32" fmla="*/ 50 w 100"/>
                <a:gd name="T3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00">
                  <a:moveTo>
                    <a:pt x="50" y="100"/>
                  </a:moveTo>
                  <a:cubicBezTo>
                    <a:pt x="57" y="100"/>
                    <a:pt x="63" y="94"/>
                    <a:pt x="63" y="88"/>
                  </a:cubicBezTo>
                  <a:lnTo>
                    <a:pt x="63" y="63"/>
                  </a:lnTo>
                  <a:lnTo>
                    <a:pt x="88" y="63"/>
                  </a:lnTo>
                  <a:cubicBezTo>
                    <a:pt x="94" y="63"/>
                    <a:pt x="100" y="57"/>
                    <a:pt x="100" y="50"/>
                  </a:cubicBezTo>
                  <a:cubicBezTo>
                    <a:pt x="100" y="43"/>
                    <a:pt x="94" y="38"/>
                    <a:pt x="88" y="38"/>
                  </a:cubicBezTo>
                  <a:lnTo>
                    <a:pt x="63" y="38"/>
                  </a:lnTo>
                  <a:lnTo>
                    <a:pt x="63" y="13"/>
                  </a:lnTo>
                  <a:cubicBezTo>
                    <a:pt x="63" y="6"/>
                    <a:pt x="57" y="0"/>
                    <a:pt x="50" y="0"/>
                  </a:cubicBezTo>
                  <a:cubicBezTo>
                    <a:pt x="43" y="0"/>
                    <a:pt x="38" y="6"/>
                    <a:pt x="38" y="13"/>
                  </a:cubicBezTo>
                  <a:lnTo>
                    <a:pt x="38" y="38"/>
                  </a:lnTo>
                  <a:lnTo>
                    <a:pt x="13" y="38"/>
                  </a:lnTo>
                  <a:cubicBezTo>
                    <a:pt x="6" y="38"/>
                    <a:pt x="0" y="43"/>
                    <a:pt x="0" y="50"/>
                  </a:cubicBezTo>
                  <a:cubicBezTo>
                    <a:pt x="0" y="57"/>
                    <a:pt x="6" y="63"/>
                    <a:pt x="13" y="63"/>
                  </a:cubicBezTo>
                  <a:lnTo>
                    <a:pt x="38" y="63"/>
                  </a:lnTo>
                  <a:lnTo>
                    <a:pt x="38" y="88"/>
                  </a:lnTo>
                  <a:cubicBezTo>
                    <a:pt x="38" y="94"/>
                    <a:pt x="43" y="100"/>
                    <a:pt x="50" y="1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Plus">
              <a:extLst>
                <a:ext uri="{FF2B5EF4-FFF2-40B4-BE49-F238E27FC236}">
                  <a16:creationId xmlns:a16="http://schemas.microsoft.com/office/drawing/2014/main" id="{C6551882-1F73-4723-AE22-BEC175ACB6DF}"/>
                </a:ext>
              </a:extLst>
            </p:cNvPr>
            <p:cNvSpPr>
              <a:spLocks/>
            </p:cNvSpPr>
            <p:nvPr>
              <p:custDataLst>
                <p:tags r:id="rId6"/>
              </p:custDataLst>
            </p:nvPr>
          </p:nvSpPr>
          <p:spPr bwMode="auto">
            <a:xfrm>
              <a:off x="50" y="50"/>
              <a:ext cx="339" cy="340"/>
            </a:xfrm>
            <a:custGeom>
              <a:avLst/>
              <a:gdLst>
                <a:gd name="T0" fmla="*/ 100 w 200"/>
                <a:gd name="T1" fmla="*/ 0 h 200"/>
                <a:gd name="T2" fmla="*/ 0 w 200"/>
                <a:gd name="T3" fmla="*/ 100 h 200"/>
                <a:gd name="T4" fmla="*/ 100 w 200"/>
                <a:gd name="T5" fmla="*/ 200 h 200"/>
                <a:gd name="T6" fmla="*/ 151 w 200"/>
                <a:gd name="T7" fmla="*/ 186 h 200"/>
                <a:gd name="T8" fmla="*/ 156 w 200"/>
                <a:gd name="T9" fmla="*/ 169 h 200"/>
                <a:gd name="T10" fmla="*/ 139 w 200"/>
                <a:gd name="T11" fmla="*/ 164 h 200"/>
                <a:gd name="T12" fmla="*/ 100 w 200"/>
                <a:gd name="T13" fmla="*/ 175 h 200"/>
                <a:gd name="T14" fmla="*/ 25 w 200"/>
                <a:gd name="T15" fmla="*/ 100 h 200"/>
                <a:gd name="T16" fmla="*/ 100 w 200"/>
                <a:gd name="T17" fmla="*/ 25 h 200"/>
                <a:gd name="T18" fmla="*/ 175 w 200"/>
                <a:gd name="T19" fmla="*/ 100 h 200"/>
                <a:gd name="T20" fmla="*/ 164 w 200"/>
                <a:gd name="T21" fmla="*/ 139 h 200"/>
                <a:gd name="T22" fmla="*/ 169 w 200"/>
                <a:gd name="T23" fmla="*/ 156 h 200"/>
                <a:gd name="T24" fmla="*/ 186 w 200"/>
                <a:gd name="T25" fmla="*/ 151 h 200"/>
                <a:gd name="T26" fmla="*/ 200 w 200"/>
                <a:gd name="T27" fmla="*/ 100 h 200"/>
                <a:gd name="T28" fmla="*/ 100 w 200"/>
                <a:gd name="T2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200">
                  <a:moveTo>
                    <a:pt x="100" y="0"/>
                  </a:moveTo>
                  <a:cubicBezTo>
                    <a:pt x="45" y="0"/>
                    <a:pt x="0" y="45"/>
                    <a:pt x="0" y="100"/>
                  </a:cubicBezTo>
                  <a:cubicBezTo>
                    <a:pt x="0" y="155"/>
                    <a:pt x="45" y="200"/>
                    <a:pt x="100" y="200"/>
                  </a:cubicBezTo>
                  <a:cubicBezTo>
                    <a:pt x="118" y="200"/>
                    <a:pt x="136" y="195"/>
                    <a:pt x="151" y="186"/>
                  </a:cubicBezTo>
                  <a:cubicBezTo>
                    <a:pt x="157" y="182"/>
                    <a:pt x="159" y="174"/>
                    <a:pt x="156" y="169"/>
                  </a:cubicBezTo>
                  <a:cubicBezTo>
                    <a:pt x="152" y="163"/>
                    <a:pt x="144" y="161"/>
                    <a:pt x="139" y="164"/>
                  </a:cubicBezTo>
                  <a:cubicBezTo>
                    <a:pt x="127" y="171"/>
                    <a:pt x="114" y="175"/>
                    <a:pt x="100" y="175"/>
                  </a:cubicBezTo>
                  <a:cubicBezTo>
                    <a:pt x="59" y="175"/>
                    <a:pt x="25" y="141"/>
                    <a:pt x="25" y="100"/>
                  </a:cubicBezTo>
                  <a:cubicBezTo>
                    <a:pt x="25" y="59"/>
                    <a:pt x="59" y="25"/>
                    <a:pt x="100" y="25"/>
                  </a:cubicBezTo>
                  <a:cubicBezTo>
                    <a:pt x="141" y="25"/>
                    <a:pt x="175" y="59"/>
                    <a:pt x="175" y="100"/>
                  </a:cubicBezTo>
                  <a:cubicBezTo>
                    <a:pt x="175" y="114"/>
                    <a:pt x="171" y="127"/>
                    <a:pt x="164" y="139"/>
                  </a:cubicBezTo>
                  <a:cubicBezTo>
                    <a:pt x="161" y="144"/>
                    <a:pt x="163" y="152"/>
                    <a:pt x="169" y="156"/>
                  </a:cubicBezTo>
                  <a:cubicBezTo>
                    <a:pt x="174" y="159"/>
                    <a:pt x="182" y="157"/>
                    <a:pt x="186" y="151"/>
                  </a:cubicBezTo>
                  <a:cubicBezTo>
                    <a:pt x="195" y="136"/>
                    <a:pt x="200" y="118"/>
                    <a:pt x="200" y="100"/>
                  </a:cubicBezTo>
                  <a:cubicBezTo>
                    <a:pt x="200" y="45"/>
                    <a:pt x="155" y="0"/>
                    <a:pt x="1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2" name="Accounting" descr="{&quot;Key&quot;:&quot;POWER_USER_SHAPE_ICON&quot;,&quot;Value&quot;:&quot;POWER_USER_SHAPE_ICON_STYLE_1&quot;}">
            <a:extLst>
              <a:ext uri="{FF2B5EF4-FFF2-40B4-BE49-F238E27FC236}">
                <a16:creationId xmlns:a16="http://schemas.microsoft.com/office/drawing/2014/main" id="{ACB6EF9E-6CAD-4652-9DC2-97A60F1AB2A1}"/>
              </a:ext>
            </a:extLst>
          </p:cNvPr>
          <p:cNvGrpSpPr>
            <a:grpSpLocks noChangeAspect="1"/>
          </p:cNvGrpSpPr>
          <p:nvPr>
            <p:custDataLst>
              <p:tags r:id="rId4"/>
            </p:custDataLst>
          </p:nvPr>
        </p:nvGrpSpPr>
        <p:grpSpPr>
          <a:xfrm>
            <a:off x="10647090" y="5477695"/>
            <a:ext cx="482002" cy="407907"/>
            <a:chOff x="2687638" y="138112"/>
            <a:chExt cx="981075" cy="830263"/>
          </a:xfrm>
          <a:solidFill>
            <a:schemeClr val="tx1"/>
          </a:solidFill>
        </p:grpSpPr>
        <p:sp>
          <p:nvSpPr>
            <p:cNvPr id="73" name="Freeform 105">
              <a:extLst>
                <a:ext uri="{FF2B5EF4-FFF2-40B4-BE49-F238E27FC236}">
                  <a16:creationId xmlns:a16="http://schemas.microsoft.com/office/drawing/2014/main" id="{DB3EDAC8-13CF-44E5-90E4-F86A60EB95CA}"/>
                </a:ext>
              </a:extLst>
            </p:cNvPr>
            <p:cNvSpPr>
              <a:spLocks/>
            </p:cNvSpPr>
            <p:nvPr/>
          </p:nvSpPr>
          <p:spPr bwMode="auto">
            <a:xfrm>
              <a:off x="2700338" y="138112"/>
              <a:ext cx="968375" cy="514350"/>
            </a:xfrm>
            <a:custGeom>
              <a:avLst/>
              <a:gdLst>
                <a:gd name="T0" fmla="*/ 1260 w 1272"/>
                <a:gd name="T1" fmla="*/ 388 h 675"/>
                <a:gd name="T2" fmla="*/ 595 w 1272"/>
                <a:gd name="T3" fmla="*/ 4 h 675"/>
                <a:gd name="T4" fmla="*/ 570 w 1272"/>
                <a:gd name="T5" fmla="*/ 4 h 675"/>
                <a:gd name="T6" fmla="*/ 13 w 1272"/>
                <a:gd name="T7" fmla="*/ 328 h 675"/>
                <a:gd name="T8" fmla="*/ 0 w 1272"/>
                <a:gd name="T9" fmla="*/ 350 h 675"/>
                <a:gd name="T10" fmla="*/ 13 w 1272"/>
                <a:gd name="T11" fmla="*/ 371 h 675"/>
                <a:gd name="T12" fmla="*/ 234 w 1272"/>
                <a:gd name="T13" fmla="*/ 499 h 675"/>
                <a:gd name="T14" fmla="*/ 284 w 1272"/>
                <a:gd name="T15" fmla="*/ 470 h 675"/>
                <a:gd name="T16" fmla="*/ 75 w 1272"/>
                <a:gd name="T17" fmla="*/ 350 h 675"/>
                <a:gd name="T18" fmla="*/ 583 w 1272"/>
                <a:gd name="T19" fmla="*/ 55 h 675"/>
                <a:gd name="T20" fmla="*/ 1197 w 1272"/>
                <a:gd name="T21" fmla="*/ 409 h 675"/>
                <a:gd name="T22" fmla="*/ 791 w 1272"/>
                <a:gd name="T23" fmla="*/ 646 h 675"/>
                <a:gd name="T24" fmla="*/ 841 w 1272"/>
                <a:gd name="T25" fmla="*/ 675 h 675"/>
                <a:gd name="T26" fmla="*/ 1260 w 1272"/>
                <a:gd name="T27" fmla="*/ 431 h 675"/>
                <a:gd name="T28" fmla="*/ 1272 w 1272"/>
                <a:gd name="T29" fmla="*/ 409 h 675"/>
                <a:gd name="T30" fmla="*/ 1260 w 1272"/>
                <a:gd name="T31" fmla="*/ 388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2" h="675">
                  <a:moveTo>
                    <a:pt x="1260" y="388"/>
                  </a:moveTo>
                  <a:lnTo>
                    <a:pt x="595" y="4"/>
                  </a:lnTo>
                  <a:cubicBezTo>
                    <a:pt x="588" y="0"/>
                    <a:pt x="578" y="0"/>
                    <a:pt x="570" y="4"/>
                  </a:cubicBezTo>
                  <a:lnTo>
                    <a:pt x="13" y="328"/>
                  </a:lnTo>
                  <a:cubicBezTo>
                    <a:pt x="5" y="333"/>
                    <a:pt x="0" y="341"/>
                    <a:pt x="0" y="350"/>
                  </a:cubicBezTo>
                  <a:cubicBezTo>
                    <a:pt x="0" y="359"/>
                    <a:pt x="5" y="367"/>
                    <a:pt x="13" y="371"/>
                  </a:cubicBezTo>
                  <a:lnTo>
                    <a:pt x="234" y="499"/>
                  </a:lnTo>
                  <a:lnTo>
                    <a:pt x="284" y="470"/>
                  </a:lnTo>
                  <a:lnTo>
                    <a:pt x="75" y="350"/>
                  </a:lnTo>
                  <a:lnTo>
                    <a:pt x="583" y="55"/>
                  </a:lnTo>
                  <a:lnTo>
                    <a:pt x="1197" y="409"/>
                  </a:lnTo>
                  <a:lnTo>
                    <a:pt x="791" y="646"/>
                  </a:lnTo>
                  <a:lnTo>
                    <a:pt x="841" y="675"/>
                  </a:lnTo>
                  <a:lnTo>
                    <a:pt x="1260" y="431"/>
                  </a:lnTo>
                  <a:cubicBezTo>
                    <a:pt x="1268" y="427"/>
                    <a:pt x="1272" y="418"/>
                    <a:pt x="1272" y="409"/>
                  </a:cubicBezTo>
                  <a:cubicBezTo>
                    <a:pt x="1272" y="400"/>
                    <a:pt x="1267" y="392"/>
                    <a:pt x="1260" y="38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106">
              <a:extLst>
                <a:ext uri="{FF2B5EF4-FFF2-40B4-BE49-F238E27FC236}">
                  <a16:creationId xmlns:a16="http://schemas.microsoft.com/office/drawing/2014/main" id="{56D857F4-C8E9-4869-94CC-818C1E2A1C9A}"/>
                </a:ext>
              </a:extLst>
            </p:cNvPr>
            <p:cNvSpPr>
              <a:spLocks/>
            </p:cNvSpPr>
            <p:nvPr/>
          </p:nvSpPr>
          <p:spPr bwMode="auto">
            <a:xfrm>
              <a:off x="3041651" y="296862"/>
              <a:ext cx="296863" cy="111125"/>
            </a:xfrm>
            <a:custGeom>
              <a:avLst/>
              <a:gdLst>
                <a:gd name="T0" fmla="*/ 388 w 388"/>
                <a:gd name="T1" fmla="*/ 45 h 146"/>
                <a:gd name="T2" fmla="*/ 186 w 388"/>
                <a:gd name="T3" fmla="*/ 0 h 146"/>
                <a:gd name="T4" fmla="*/ 0 w 388"/>
                <a:gd name="T5" fmla="*/ 37 h 146"/>
                <a:gd name="T6" fmla="*/ 188 w 388"/>
                <a:gd name="T7" fmla="*/ 146 h 146"/>
                <a:gd name="T8" fmla="*/ 388 w 388"/>
                <a:gd name="T9" fmla="*/ 45 h 146"/>
              </a:gdLst>
              <a:ahLst/>
              <a:cxnLst>
                <a:cxn ang="0">
                  <a:pos x="T0" y="T1"/>
                </a:cxn>
                <a:cxn ang="0">
                  <a:pos x="T2" y="T3"/>
                </a:cxn>
                <a:cxn ang="0">
                  <a:pos x="T4" y="T5"/>
                </a:cxn>
                <a:cxn ang="0">
                  <a:pos x="T6" y="T7"/>
                </a:cxn>
                <a:cxn ang="0">
                  <a:pos x="T8" y="T9"/>
                </a:cxn>
              </a:cxnLst>
              <a:rect l="0" t="0" r="r" b="b"/>
              <a:pathLst>
                <a:path w="388" h="146">
                  <a:moveTo>
                    <a:pt x="388" y="45"/>
                  </a:moveTo>
                  <a:cubicBezTo>
                    <a:pt x="333" y="16"/>
                    <a:pt x="262" y="0"/>
                    <a:pt x="186" y="0"/>
                  </a:cubicBezTo>
                  <a:cubicBezTo>
                    <a:pt x="118" y="0"/>
                    <a:pt x="52" y="13"/>
                    <a:pt x="0" y="37"/>
                  </a:cubicBezTo>
                  <a:lnTo>
                    <a:pt x="188" y="146"/>
                  </a:lnTo>
                  <a:lnTo>
                    <a:pt x="388"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107">
              <a:extLst>
                <a:ext uri="{FF2B5EF4-FFF2-40B4-BE49-F238E27FC236}">
                  <a16:creationId xmlns:a16="http://schemas.microsoft.com/office/drawing/2014/main" id="{E82AB3B2-F25C-4D27-AA05-285E743172D1}"/>
                </a:ext>
              </a:extLst>
            </p:cNvPr>
            <p:cNvSpPr>
              <a:spLocks/>
            </p:cNvSpPr>
            <p:nvPr/>
          </p:nvSpPr>
          <p:spPr bwMode="auto">
            <a:xfrm>
              <a:off x="3209926" y="350837"/>
              <a:ext cx="204788" cy="196850"/>
            </a:xfrm>
            <a:custGeom>
              <a:avLst/>
              <a:gdLst>
                <a:gd name="T0" fmla="*/ 81 w 267"/>
                <a:gd name="T1" fmla="*/ 257 h 257"/>
                <a:gd name="T2" fmla="*/ 163 w 267"/>
                <a:gd name="T3" fmla="*/ 227 h 257"/>
                <a:gd name="T4" fmla="*/ 264 w 267"/>
                <a:gd name="T5" fmla="*/ 109 h 257"/>
                <a:gd name="T6" fmla="*/ 209 w 267"/>
                <a:gd name="T7" fmla="*/ 0 h 257"/>
                <a:gd name="T8" fmla="*/ 0 w 267"/>
                <a:gd name="T9" fmla="*/ 105 h 257"/>
                <a:gd name="T10" fmla="*/ 81 w 267"/>
                <a:gd name="T11" fmla="*/ 257 h 257"/>
              </a:gdLst>
              <a:ahLst/>
              <a:cxnLst>
                <a:cxn ang="0">
                  <a:pos x="T0" y="T1"/>
                </a:cxn>
                <a:cxn ang="0">
                  <a:pos x="T2" y="T3"/>
                </a:cxn>
                <a:cxn ang="0">
                  <a:pos x="T4" y="T5"/>
                </a:cxn>
                <a:cxn ang="0">
                  <a:pos x="T6" y="T7"/>
                </a:cxn>
                <a:cxn ang="0">
                  <a:pos x="T8" y="T9"/>
                </a:cxn>
                <a:cxn ang="0">
                  <a:pos x="T10" y="T11"/>
                </a:cxn>
              </a:cxnLst>
              <a:rect l="0" t="0" r="r" b="b"/>
              <a:pathLst>
                <a:path w="267" h="257">
                  <a:moveTo>
                    <a:pt x="81" y="257"/>
                  </a:moveTo>
                  <a:cubicBezTo>
                    <a:pt x="111" y="250"/>
                    <a:pt x="138" y="240"/>
                    <a:pt x="163" y="227"/>
                  </a:cubicBezTo>
                  <a:cubicBezTo>
                    <a:pt x="223" y="197"/>
                    <a:pt x="259" y="155"/>
                    <a:pt x="264" y="109"/>
                  </a:cubicBezTo>
                  <a:cubicBezTo>
                    <a:pt x="267" y="70"/>
                    <a:pt x="248" y="32"/>
                    <a:pt x="209" y="0"/>
                  </a:cubicBezTo>
                  <a:lnTo>
                    <a:pt x="0" y="105"/>
                  </a:lnTo>
                  <a:lnTo>
                    <a:pt x="81" y="2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108">
              <a:extLst>
                <a:ext uri="{FF2B5EF4-FFF2-40B4-BE49-F238E27FC236}">
                  <a16:creationId xmlns:a16="http://schemas.microsoft.com/office/drawing/2014/main" id="{E4877E6C-275A-49DA-BBAB-A5E9F29605E2}"/>
                </a:ext>
              </a:extLst>
            </p:cNvPr>
            <p:cNvSpPr>
              <a:spLocks/>
            </p:cNvSpPr>
            <p:nvPr/>
          </p:nvSpPr>
          <p:spPr bwMode="auto">
            <a:xfrm>
              <a:off x="2943226" y="344487"/>
              <a:ext cx="285750" cy="212725"/>
            </a:xfrm>
            <a:custGeom>
              <a:avLst/>
              <a:gdLst>
                <a:gd name="T0" fmla="*/ 317 w 375"/>
                <a:gd name="T1" fmla="*/ 279 h 279"/>
                <a:gd name="T2" fmla="*/ 375 w 375"/>
                <a:gd name="T3" fmla="*/ 275 h 279"/>
                <a:gd name="T4" fmla="*/ 291 w 375"/>
                <a:gd name="T5" fmla="*/ 118 h 279"/>
                <a:gd name="T6" fmla="*/ 85 w 375"/>
                <a:gd name="T7" fmla="*/ 0 h 279"/>
                <a:gd name="T8" fmla="*/ 32 w 375"/>
                <a:gd name="T9" fmla="*/ 159 h 279"/>
                <a:gd name="T10" fmla="*/ 154 w 375"/>
                <a:gd name="T11" fmla="*/ 155 h 279"/>
                <a:gd name="T12" fmla="*/ 304 w 375"/>
                <a:gd name="T13" fmla="*/ 277 h 279"/>
                <a:gd name="T14" fmla="*/ 317 w 375"/>
                <a:gd name="T15" fmla="*/ 279 h 2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5" h="279">
                  <a:moveTo>
                    <a:pt x="317" y="279"/>
                  </a:moveTo>
                  <a:cubicBezTo>
                    <a:pt x="336" y="279"/>
                    <a:pt x="356" y="278"/>
                    <a:pt x="375" y="275"/>
                  </a:cubicBezTo>
                  <a:lnTo>
                    <a:pt x="291" y="118"/>
                  </a:lnTo>
                  <a:lnTo>
                    <a:pt x="85" y="0"/>
                  </a:lnTo>
                  <a:cubicBezTo>
                    <a:pt x="21" y="44"/>
                    <a:pt x="0" y="101"/>
                    <a:pt x="32" y="159"/>
                  </a:cubicBezTo>
                  <a:cubicBezTo>
                    <a:pt x="72" y="133"/>
                    <a:pt x="119" y="133"/>
                    <a:pt x="154" y="155"/>
                  </a:cubicBezTo>
                  <a:lnTo>
                    <a:pt x="304" y="277"/>
                  </a:lnTo>
                  <a:cubicBezTo>
                    <a:pt x="304" y="277"/>
                    <a:pt x="307" y="279"/>
                    <a:pt x="317" y="27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109">
              <a:extLst>
                <a:ext uri="{FF2B5EF4-FFF2-40B4-BE49-F238E27FC236}">
                  <a16:creationId xmlns:a16="http://schemas.microsoft.com/office/drawing/2014/main" id="{8A6321BE-888D-4ABF-B269-C7C4F834BDF3}"/>
                </a:ext>
              </a:extLst>
            </p:cNvPr>
            <p:cNvSpPr>
              <a:spLocks noEditPoints="1"/>
            </p:cNvSpPr>
            <p:nvPr/>
          </p:nvSpPr>
          <p:spPr bwMode="auto">
            <a:xfrm>
              <a:off x="2687638" y="484187"/>
              <a:ext cx="684213" cy="484188"/>
            </a:xfrm>
            <a:custGeom>
              <a:avLst/>
              <a:gdLst>
                <a:gd name="T0" fmla="*/ 848 w 898"/>
                <a:gd name="T1" fmla="*/ 363 h 635"/>
                <a:gd name="T2" fmla="*/ 472 w 898"/>
                <a:gd name="T3" fmla="*/ 580 h 635"/>
                <a:gd name="T4" fmla="*/ 466 w 898"/>
                <a:gd name="T5" fmla="*/ 581 h 635"/>
                <a:gd name="T6" fmla="*/ 459 w 898"/>
                <a:gd name="T7" fmla="*/ 580 h 635"/>
                <a:gd name="T8" fmla="*/ 178 w 898"/>
                <a:gd name="T9" fmla="*/ 417 h 635"/>
                <a:gd name="T10" fmla="*/ 50 w 898"/>
                <a:gd name="T11" fmla="*/ 308 h 635"/>
                <a:gd name="T12" fmla="*/ 50 w 898"/>
                <a:gd name="T13" fmla="*/ 275 h 635"/>
                <a:gd name="T14" fmla="*/ 426 w 898"/>
                <a:gd name="T15" fmla="*/ 58 h 635"/>
                <a:gd name="T16" fmla="*/ 433 w 898"/>
                <a:gd name="T17" fmla="*/ 56 h 635"/>
                <a:gd name="T18" fmla="*/ 438 w 898"/>
                <a:gd name="T19" fmla="*/ 57 h 635"/>
                <a:gd name="T20" fmla="*/ 579 w 898"/>
                <a:gd name="T21" fmla="*/ 174 h 635"/>
                <a:gd name="T22" fmla="*/ 848 w 898"/>
                <a:gd name="T23" fmla="*/ 330 h 635"/>
                <a:gd name="T24" fmla="*/ 848 w 898"/>
                <a:gd name="T25" fmla="*/ 363 h 635"/>
                <a:gd name="T26" fmla="*/ 497 w 898"/>
                <a:gd name="T27" fmla="*/ 623 h 635"/>
                <a:gd name="T28" fmla="*/ 873 w 898"/>
                <a:gd name="T29" fmla="*/ 406 h 635"/>
                <a:gd name="T30" fmla="*/ 898 w 898"/>
                <a:gd name="T31" fmla="*/ 363 h 635"/>
                <a:gd name="T32" fmla="*/ 898 w 898"/>
                <a:gd name="T33" fmla="*/ 330 h 635"/>
                <a:gd name="T34" fmla="*/ 873 w 898"/>
                <a:gd name="T35" fmla="*/ 287 h 635"/>
                <a:gd name="T36" fmla="*/ 608 w 898"/>
                <a:gd name="T37" fmla="*/ 133 h 635"/>
                <a:gd name="T38" fmla="*/ 470 w 898"/>
                <a:gd name="T39" fmla="*/ 19 h 635"/>
                <a:gd name="T40" fmla="*/ 401 w 898"/>
                <a:gd name="T41" fmla="*/ 14 h 635"/>
                <a:gd name="T42" fmla="*/ 25 w 898"/>
                <a:gd name="T43" fmla="*/ 231 h 635"/>
                <a:gd name="T44" fmla="*/ 0 w 898"/>
                <a:gd name="T45" fmla="*/ 274 h 635"/>
                <a:gd name="T46" fmla="*/ 0 w 898"/>
                <a:gd name="T47" fmla="*/ 307 h 635"/>
                <a:gd name="T48" fmla="*/ 18 w 898"/>
                <a:gd name="T49" fmla="*/ 346 h 635"/>
                <a:gd name="T50" fmla="*/ 146 w 898"/>
                <a:gd name="T51" fmla="*/ 455 h 635"/>
                <a:gd name="T52" fmla="*/ 153 w 898"/>
                <a:gd name="T53" fmla="*/ 460 h 635"/>
                <a:gd name="T54" fmla="*/ 434 w 898"/>
                <a:gd name="T55" fmla="*/ 623 h 635"/>
                <a:gd name="T56" fmla="*/ 497 w 898"/>
                <a:gd name="T57" fmla="*/ 62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8" h="635">
                  <a:moveTo>
                    <a:pt x="848" y="363"/>
                  </a:moveTo>
                  <a:lnTo>
                    <a:pt x="472" y="580"/>
                  </a:lnTo>
                  <a:cubicBezTo>
                    <a:pt x="470" y="581"/>
                    <a:pt x="468" y="581"/>
                    <a:pt x="466" y="581"/>
                  </a:cubicBezTo>
                  <a:cubicBezTo>
                    <a:pt x="464" y="581"/>
                    <a:pt x="461" y="581"/>
                    <a:pt x="459" y="580"/>
                  </a:cubicBezTo>
                  <a:lnTo>
                    <a:pt x="178" y="417"/>
                  </a:lnTo>
                  <a:lnTo>
                    <a:pt x="50" y="308"/>
                  </a:lnTo>
                  <a:lnTo>
                    <a:pt x="50" y="275"/>
                  </a:lnTo>
                  <a:lnTo>
                    <a:pt x="426" y="58"/>
                  </a:lnTo>
                  <a:cubicBezTo>
                    <a:pt x="427" y="57"/>
                    <a:pt x="430" y="56"/>
                    <a:pt x="433" y="56"/>
                  </a:cubicBezTo>
                  <a:cubicBezTo>
                    <a:pt x="435" y="56"/>
                    <a:pt x="437" y="56"/>
                    <a:pt x="438" y="57"/>
                  </a:cubicBezTo>
                  <a:lnTo>
                    <a:pt x="579" y="174"/>
                  </a:lnTo>
                  <a:lnTo>
                    <a:pt x="848" y="330"/>
                  </a:lnTo>
                  <a:lnTo>
                    <a:pt x="848" y="363"/>
                  </a:lnTo>
                  <a:close/>
                  <a:moveTo>
                    <a:pt x="497" y="623"/>
                  </a:moveTo>
                  <a:lnTo>
                    <a:pt x="873" y="406"/>
                  </a:lnTo>
                  <a:cubicBezTo>
                    <a:pt x="889" y="397"/>
                    <a:pt x="898" y="380"/>
                    <a:pt x="898" y="363"/>
                  </a:cubicBezTo>
                  <a:lnTo>
                    <a:pt x="898" y="330"/>
                  </a:lnTo>
                  <a:cubicBezTo>
                    <a:pt x="898" y="312"/>
                    <a:pt x="888" y="296"/>
                    <a:pt x="873" y="287"/>
                  </a:cubicBezTo>
                  <a:lnTo>
                    <a:pt x="608" y="133"/>
                  </a:lnTo>
                  <a:lnTo>
                    <a:pt x="470" y="19"/>
                  </a:lnTo>
                  <a:cubicBezTo>
                    <a:pt x="453" y="5"/>
                    <a:pt x="431" y="0"/>
                    <a:pt x="401" y="14"/>
                  </a:cubicBezTo>
                  <a:lnTo>
                    <a:pt x="25" y="231"/>
                  </a:lnTo>
                  <a:cubicBezTo>
                    <a:pt x="10" y="240"/>
                    <a:pt x="0" y="257"/>
                    <a:pt x="0" y="274"/>
                  </a:cubicBezTo>
                  <a:lnTo>
                    <a:pt x="0" y="307"/>
                  </a:lnTo>
                  <a:cubicBezTo>
                    <a:pt x="0" y="322"/>
                    <a:pt x="7" y="336"/>
                    <a:pt x="18" y="346"/>
                  </a:cubicBezTo>
                  <a:lnTo>
                    <a:pt x="146" y="455"/>
                  </a:lnTo>
                  <a:cubicBezTo>
                    <a:pt x="148" y="457"/>
                    <a:pt x="151" y="458"/>
                    <a:pt x="153" y="460"/>
                  </a:cubicBezTo>
                  <a:lnTo>
                    <a:pt x="434" y="623"/>
                  </a:lnTo>
                  <a:cubicBezTo>
                    <a:pt x="456" y="635"/>
                    <a:pt x="477" y="635"/>
                    <a:pt x="497"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110">
              <a:extLst>
                <a:ext uri="{FF2B5EF4-FFF2-40B4-BE49-F238E27FC236}">
                  <a16:creationId xmlns:a16="http://schemas.microsoft.com/office/drawing/2014/main" id="{8860BA8E-6841-45F9-8292-88055167C4D3}"/>
                </a:ext>
              </a:extLst>
            </p:cNvPr>
            <p:cNvSpPr>
              <a:spLocks/>
            </p:cNvSpPr>
            <p:nvPr/>
          </p:nvSpPr>
          <p:spPr bwMode="auto">
            <a:xfrm>
              <a:off x="3138488" y="717550"/>
              <a:ext cx="93663" cy="55563"/>
            </a:xfrm>
            <a:custGeom>
              <a:avLst/>
              <a:gdLst>
                <a:gd name="T0" fmla="*/ 22 w 123"/>
                <a:gd name="T1" fmla="*/ 59 h 72"/>
                <a:gd name="T2" fmla="*/ 101 w 123"/>
                <a:gd name="T3" fmla="*/ 59 h 72"/>
                <a:gd name="T4" fmla="*/ 101 w 123"/>
                <a:gd name="T5" fmla="*/ 13 h 72"/>
                <a:gd name="T6" fmla="*/ 22 w 123"/>
                <a:gd name="T7" fmla="*/ 13 h 72"/>
                <a:gd name="T8" fmla="*/ 22 w 123"/>
                <a:gd name="T9" fmla="*/ 59 h 72"/>
              </a:gdLst>
              <a:ahLst/>
              <a:cxnLst>
                <a:cxn ang="0">
                  <a:pos x="T0" y="T1"/>
                </a:cxn>
                <a:cxn ang="0">
                  <a:pos x="T2" y="T3"/>
                </a:cxn>
                <a:cxn ang="0">
                  <a:pos x="T4" y="T5"/>
                </a:cxn>
                <a:cxn ang="0">
                  <a:pos x="T6" y="T7"/>
                </a:cxn>
                <a:cxn ang="0">
                  <a:pos x="T8" y="T9"/>
                </a:cxn>
              </a:cxnLst>
              <a:rect l="0" t="0" r="r" b="b"/>
              <a:pathLst>
                <a:path w="123" h="72">
                  <a:moveTo>
                    <a:pt x="22" y="59"/>
                  </a:moveTo>
                  <a:cubicBezTo>
                    <a:pt x="44" y="72"/>
                    <a:pt x="79" y="72"/>
                    <a:pt x="101" y="59"/>
                  </a:cubicBezTo>
                  <a:cubicBezTo>
                    <a:pt x="123" y="46"/>
                    <a:pt x="123" y="26"/>
                    <a:pt x="101" y="13"/>
                  </a:cubicBezTo>
                  <a:cubicBezTo>
                    <a:pt x="80" y="0"/>
                    <a:pt x="44" y="0"/>
                    <a:pt x="22" y="13"/>
                  </a:cubicBezTo>
                  <a:cubicBezTo>
                    <a:pt x="0" y="26"/>
                    <a:pt x="0" y="46"/>
                    <a:pt x="22" y="5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111">
              <a:extLst>
                <a:ext uri="{FF2B5EF4-FFF2-40B4-BE49-F238E27FC236}">
                  <a16:creationId xmlns:a16="http://schemas.microsoft.com/office/drawing/2014/main" id="{4DBDA741-5030-4CE9-8FED-18AC0A92D807}"/>
                </a:ext>
              </a:extLst>
            </p:cNvPr>
            <p:cNvSpPr>
              <a:spLocks/>
            </p:cNvSpPr>
            <p:nvPr/>
          </p:nvSpPr>
          <p:spPr bwMode="auto">
            <a:xfrm>
              <a:off x="3036888" y="658812"/>
              <a:ext cx="93663" cy="53975"/>
            </a:xfrm>
            <a:custGeom>
              <a:avLst/>
              <a:gdLst>
                <a:gd name="T0" fmla="*/ 101 w 123"/>
                <a:gd name="T1" fmla="*/ 12 h 71"/>
                <a:gd name="T2" fmla="*/ 22 w 123"/>
                <a:gd name="T3" fmla="*/ 12 h 71"/>
                <a:gd name="T4" fmla="*/ 21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79" y="0"/>
                    <a:pt x="44" y="0"/>
                    <a:pt x="22" y="12"/>
                  </a:cubicBezTo>
                  <a:cubicBezTo>
                    <a:pt x="0" y="25"/>
                    <a:pt x="0" y="46"/>
                    <a:pt x="21" y="58"/>
                  </a:cubicBezTo>
                  <a:cubicBezTo>
                    <a:pt x="43" y="71"/>
                    <a:pt x="79" y="71"/>
                    <a:pt x="101" y="58"/>
                  </a:cubicBezTo>
                  <a:cubicBezTo>
                    <a:pt x="122" y="46"/>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112">
              <a:extLst>
                <a:ext uri="{FF2B5EF4-FFF2-40B4-BE49-F238E27FC236}">
                  <a16:creationId xmlns:a16="http://schemas.microsoft.com/office/drawing/2014/main" id="{09AC28CE-2957-4AD9-B57A-CB3C6E46D888}"/>
                </a:ext>
              </a:extLst>
            </p:cNvPr>
            <p:cNvSpPr>
              <a:spLocks/>
            </p:cNvSpPr>
            <p:nvPr/>
          </p:nvSpPr>
          <p:spPr bwMode="auto">
            <a:xfrm>
              <a:off x="3014663" y="788987"/>
              <a:ext cx="95250" cy="53975"/>
            </a:xfrm>
            <a:custGeom>
              <a:avLst/>
              <a:gdLst>
                <a:gd name="T0" fmla="*/ 101 w 123"/>
                <a:gd name="T1" fmla="*/ 12 h 71"/>
                <a:gd name="T2" fmla="*/ 22 w 123"/>
                <a:gd name="T3" fmla="*/ 12 h 71"/>
                <a:gd name="T4" fmla="*/ 22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80" y="0"/>
                    <a:pt x="44" y="0"/>
                    <a:pt x="22" y="12"/>
                  </a:cubicBezTo>
                  <a:cubicBezTo>
                    <a:pt x="0" y="25"/>
                    <a:pt x="0" y="45"/>
                    <a:pt x="22" y="58"/>
                  </a:cubicBezTo>
                  <a:cubicBezTo>
                    <a:pt x="44" y="71"/>
                    <a:pt x="79" y="71"/>
                    <a:pt x="101" y="58"/>
                  </a:cubicBezTo>
                  <a:cubicBezTo>
                    <a:pt x="123" y="45"/>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113">
              <a:extLst>
                <a:ext uri="{FF2B5EF4-FFF2-40B4-BE49-F238E27FC236}">
                  <a16:creationId xmlns:a16="http://schemas.microsoft.com/office/drawing/2014/main" id="{D999A5F1-BCB9-4A10-883D-624A4555541D}"/>
                </a:ext>
              </a:extLst>
            </p:cNvPr>
            <p:cNvSpPr>
              <a:spLocks/>
            </p:cNvSpPr>
            <p:nvPr/>
          </p:nvSpPr>
          <p:spPr bwMode="auto">
            <a:xfrm>
              <a:off x="2914651" y="730250"/>
              <a:ext cx="92075" cy="53975"/>
            </a:xfrm>
            <a:custGeom>
              <a:avLst/>
              <a:gdLst>
                <a:gd name="T0" fmla="*/ 101 w 122"/>
                <a:gd name="T1" fmla="*/ 12 h 71"/>
                <a:gd name="T2" fmla="*/ 22 w 122"/>
                <a:gd name="T3" fmla="*/ 12 h 71"/>
                <a:gd name="T4" fmla="*/ 21 w 122"/>
                <a:gd name="T5" fmla="*/ 58 h 71"/>
                <a:gd name="T6" fmla="*/ 100 w 122"/>
                <a:gd name="T7" fmla="*/ 58 h 71"/>
                <a:gd name="T8" fmla="*/ 101 w 122"/>
                <a:gd name="T9" fmla="*/ 12 h 71"/>
              </a:gdLst>
              <a:ahLst/>
              <a:cxnLst>
                <a:cxn ang="0">
                  <a:pos x="T0" y="T1"/>
                </a:cxn>
                <a:cxn ang="0">
                  <a:pos x="T2" y="T3"/>
                </a:cxn>
                <a:cxn ang="0">
                  <a:pos x="T4" y="T5"/>
                </a:cxn>
                <a:cxn ang="0">
                  <a:pos x="T6" y="T7"/>
                </a:cxn>
                <a:cxn ang="0">
                  <a:pos x="T8" y="T9"/>
                </a:cxn>
              </a:cxnLst>
              <a:rect l="0" t="0" r="r" b="b"/>
              <a:pathLst>
                <a:path w="122" h="71">
                  <a:moveTo>
                    <a:pt x="101" y="12"/>
                  </a:moveTo>
                  <a:cubicBezTo>
                    <a:pt x="79" y="0"/>
                    <a:pt x="43" y="0"/>
                    <a:pt x="22" y="12"/>
                  </a:cubicBezTo>
                  <a:cubicBezTo>
                    <a:pt x="0" y="25"/>
                    <a:pt x="0" y="46"/>
                    <a:pt x="21" y="58"/>
                  </a:cubicBezTo>
                  <a:cubicBezTo>
                    <a:pt x="43" y="71"/>
                    <a:pt x="79" y="71"/>
                    <a:pt x="100" y="58"/>
                  </a:cubicBezTo>
                  <a:cubicBezTo>
                    <a:pt x="122" y="46"/>
                    <a:pt x="122" y="25"/>
                    <a:pt x="101" y="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114">
              <a:extLst>
                <a:ext uri="{FF2B5EF4-FFF2-40B4-BE49-F238E27FC236}">
                  <a16:creationId xmlns:a16="http://schemas.microsoft.com/office/drawing/2014/main" id="{69265806-8826-465E-8626-FDB1611E0CE6}"/>
                </a:ext>
              </a:extLst>
            </p:cNvPr>
            <p:cNvSpPr>
              <a:spLocks/>
            </p:cNvSpPr>
            <p:nvPr/>
          </p:nvSpPr>
          <p:spPr bwMode="auto">
            <a:xfrm>
              <a:off x="2794001" y="568325"/>
              <a:ext cx="268288" cy="165100"/>
            </a:xfrm>
            <a:custGeom>
              <a:avLst/>
              <a:gdLst>
                <a:gd name="T0" fmla="*/ 347 w 353"/>
                <a:gd name="T1" fmla="*/ 48 h 216"/>
                <a:gd name="T2" fmla="*/ 292 w 353"/>
                <a:gd name="T3" fmla="*/ 3 h 216"/>
                <a:gd name="T4" fmla="*/ 270 w 353"/>
                <a:gd name="T5" fmla="*/ 3 h 216"/>
                <a:gd name="T6" fmla="*/ 6 w 353"/>
                <a:gd name="T7" fmla="*/ 156 h 216"/>
                <a:gd name="T8" fmla="*/ 6 w 353"/>
                <a:gd name="T9" fmla="*/ 168 h 216"/>
                <a:gd name="T10" fmla="*/ 61 w 353"/>
                <a:gd name="T11" fmla="*/ 213 h 216"/>
                <a:gd name="T12" fmla="*/ 83 w 353"/>
                <a:gd name="T13" fmla="*/ 213 h 216"/>
                <a:gd name="T14" fmla="*/ 347 w 353"/>
                <a:gd name="T15" fmla="*/ 60 h 216"/>
                <a:gd name="T16" fmla="*/ 347 w 353"/>
                <a:gd name="T17" fmla="*/ 4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216">
                  <a:moveTo>
                    <a:pt x="347" y="48"/>
                  </a:moveTo>
                  <a:lnTo>
                    <a:pt x="292" y="3"/>
                  </a:lnTo>
                  <a:cubicBezTo>
                    <a:pt x="286" y="0"/>
                    <a:pt x="276" y="0"/>
                    <a:pt x="270" y="3"/>
                  </a:cubicBezTo>
                  <a:lnTo>
                    <a:pt x="6" y="156"/>
                  </a:lnTo>
                  <a:cubicBezTo>
                    <a:pt x="0" y="159"/>
                    <a:pt x="2" y="164"/>
                    <a:pt x="6" y="168"/>
                  </a:cubicBezTo>
                  <a:lnTo>
                    <a:pt x="61" y="213"/>
                  </a:lnTo>
                  <a:cubicBezTo>
                    <a:pt x="67" y="216"/>
                    <a:pt x="77" y="216"/>
                    <a:pt x="83" y="213"/>
                  </a:cubicBezTo>
                  <a:lnTo>
                    <a:pt x="347" y="60"/>
                  </a:lnTo>
                  <a:cubicBezTo>
                    <a:pt x="353" y="57"/>
                    <a:pt x="352" y="51"/>
                    <a:pt x="347"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87" name="TextBox 86">
            <a:extLst>
              <a:ext uri="{FF2B5EF4-FFF2-40B4-BE49-F238E27FC236}">
                <a16:creationId xmlns:a16="http://schemas.microsoft.com/office/drawing/2014/main" id="{A74B3505-8000-4585-9FF1-A22BE7968B40}"/>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11" name="Action Button: Go to End 10">
            <a:hlinkClick r:id="rId15" highlightClick="1"/>
            <a:extLst>
              <a:ext uri="{FF2B5EF4-FFF2-40B4-BE49-F238E27FC236}">
                <a16:creationId xmlns:a16="http://schemas.microsoft.com/office/drawing/2014/main" id="{95F6B0E3-7B49-4107-8627-7EE9C78D8C43}"/>
              </a:ext>
            </a:extLst>
          </p:cNvPr>
          <p:cNvSpPr/>
          <p:nvPr/>
        </p:nvSpPr>
        <p:spPr>
          <a:xfrm>
            <a:off x="543959" y="1377799"/>
            <a:ext cx="475404" cy="425767"/>
          </a:xfrm>
          <a:prstGeom prst="actionButtonE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0BD962ED-9450-41DF-B64D-6F6BE78C3959}"/>
              </a:ext>
            </a:extLst>
          </p:cNvPr>
          <p:cNvSpPr/>
          <p:nvPr/>
        </p:nvSpPr>
        <p:spPr>
          <a:xfrm>
            <a:off x="992229" y="1416462"/>
            <a:ext cx="3199402" cy="369332"/>
          </a:xfrm>
          <a:prstGeom prst="rect">
            <a:avLst/>
          </a:prstGeom>
        </p:spPr>
        <p:txBody>
          <a:bodyPr wrap="none">
            <a:spAutoFit/>
          </a:bodyPr>
          <a:lstStyle/>
          <a:p>
            <a:r>
              <a:rPr lang="en-GB" b="1" dirty="0">
                <a:solidFill>
                  <a:schemeClr val="tx2"/>
                </a:solidFill>
              </a:rPr>
              <a:t>Go to the application form here</a:t>
            </a:r>
          </a:p>
        </p:txBody>
      </p:sp>
    </p:spTree>
    <p:extLst>
      <p:ext uri="{BB962C8B-B14F-4D97-AF65-F5344CB8AC3E}">
        <p14:creationId xmlns:p14="http://schemas.microsoft.com/office/powerpoint/2010/main" val="37053978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2A044-CEA2-47CA-AAD5-E3BF73FE0DBD}"/>
              </a:ext>
            </a:extLst>
          </p:cNvPr>
          <p:cNvSpPr>
            <a:spLocks noGrp="1"/>
          </p:cNvSpPr>
          <p:nvPr>
            <p:ph type="title"/>
          </p:nvPr>
        </p:nvSpPr>
        <p:spPr/>
        <p:txBody>
          <a:bodyPr/>
          <a:lstStyle/>
          <a:p>
            <a:r>
              <a:rPr lang="en-GB" dirty="0"/>
              <a:t>FREQUENTLY ASKED QUESTIONS</a:t>
            </a:r>
          </a:p>
        </p:txBody>
      </p:sp>
      <p:sp>
        <p:nvSpPr>
          <p:cNvPr id="3" name="Text Placeholder 2">
            <a:extLst>
              <a:ext uri="{FF2B5EF4-FFF2-40B4-BE49-F238E27FC236}">
                <a16:creationId xmlns:a16="http://schemas.microsoft.com/office/drawing/2014/main" id="{3BC5EAFB-8E30-43F8-BE0C-B6010FC0EF10}"/>
              </a:ext>
            </a:extLst>
          </p:cNvPr>
          <p:cNvSpPr>
            <a:spLocks noGrp="1"/>
          </p:cNvSpPr>
          <p:nvPr>
            <p:ph type="body" sz="quarter" idx="11"/>
          </p:nvPr>
        </p:nvSpPr>
        <p:spPr>
          <a:xfrm>
            <a:off x="486001" y="977452"/>
            <a:ext cx="8861199" cy="282937"/>
          </a:xfrm>
        </p:spPr>
        <p:txBody>
          <a:bodyPr/>
          <a:lstStyle/>
          <a:p>
            <a:endParaRPr lang="en-GB" dirty="0"/>
          </a:p>
        </p:txBody>
      </p:sp>
      <p:sp>
        <p:nvSpPr>
          <p:cNvPr id="4" name="Slide Number Placeholder 3">
            <a:extLst>
              <a:ext uri="{FF2B5EF4-FFF2-40B4-BE49-F238E27FC236}">
                <a16:creationId xmlns:a16="http://schemas.microsoft.com/office/drawing/2014/main" id="{BA8AED5F-348B-426E-A220-DBE1D20FBEA2}"/>
              </a:ext>
            </a:extLst>
          </p:cNvPr>
          <p:cNvSpPr>
            <a:spLocks noGrp="1"/>
          </p:cNvSpPr>
          <p:nvPr>
            <p:ph type="sldNum" sz="quarter" idx="15"/>
          </p:nvPr>
        </p:nvSpPr>
        <p:spPr/>
        <p:txBody>
          <a:bodyPr/>
          <a:lstStyle/>
          <a:p>
            <a:fld id="{3787542D-5C6B-4EB3-96EB-9B37C3D5D2F8}" type="slidenum">
              <a:rPr lang="en-GB" smtClean="0"/>
              <a:t>9</a:t>
            </a:fld>
            <a:endParaRPr lang="en-GB" dirty="0"/>
          </a:p>
        </p:txBody>
      </p:sp>
      <p:sp>
        <p:nvSpPr>
          <p:cNvPr id="7" name="Rectangle 6">
            <a:extLst>
              <a:ext uri="{FF2B5EF4-FFF2-40B4-BE49-F238E27FC236}">
                <a16:creationId xmlns:a16="http://schemas.microsoft.com/office/drawing/2014/main" id="{946EF049-629E-471B-9832-E417C2DF11F3}"/>
              </a:ext>
            </a:extLst>
          </p:cNvPr>
          <p:cNvSpPr/>
          <p:nvPr/>
        </p:nvSpPr>
        <p:spPr>
          <a:xfrm>
            <a:off x="1213094" y="1995051"/>
            <a:ext cx="3805200" cy="790928"/>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How long is this incentive open for?</a:t>
            </a:r>
          </a:p>
        </p:txBody>
      </p:sp>
      <p:sp>
        <p:nvSpPr>
          <p:cNvPr id="8" name="Rectangle 7">
            <a:extLst>
              <a:ext uri="{FF2B5EF4-FFF2-40B4-BE49-F238E27FC236}">
                <a16:creationId xmlns:a16="http://schemas.microsoft.com/office/drawing/2014/main" id="{479FD801-511B-424E-A566-306D261E6245}"/>
              </a:ext>
            </a:extLst>
          </p:cNvPr>
          <p:cNvSpPr/>
          <p:nvPr/>
        </p:nvSpPr>
        <p:spPr>
          <a:xfrm>
            <a:off x="5018295" y="1995051"/>
            <a:ext cx="6527748" cy="790928"/>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900"/>
              </a:lnSpc>
            </a:pPr>
            <a:r>
              <a:rPr lang="en-US" sz="1600" dirty="0">
                <a:solidFill>
                  <a:schemeClr val="tx1"/>
                </a:solidFill>
              </a:rPr>
              <a:t>Royal Mail is accepting applications for publishing volume commitment incentives until 28 March 2025.</a:t>
            </a:r>
          </a:p>
        </p:txBody>
      </p:sp>
      <p:sp>
        <p:nvSpPr>
          <p:cNvPr id="9" name="Rectangle 8">
            <a:extLst>
              <a:ext uri="{FF2B5EF4-FFF2-40B4-BE49-F238E27FC236}">
                <a16:creationId xmlns:a16="http://schemas.microsoft.com/office/drawing/2014/main" id="{A96CEC97-FE44-4C01-8C32-F652BDB85593}"/>
              </a:ext>
            </a:extLst>
          </p:cNvPr>
          <p:cNvSpPr/>
          <p:nvPr/>
        </p:nvSpPr>
        <p:spPr>
          <a:xfrm>
            <a:off x="1213094" y="2782093"/>
            <a:ext cx="3805200"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What type of items do I need to send to be eligible for this incentive?</a:t>
            </a:r>
          </a:p>
        </p:txBody>
      </p:sp>
      <p:sp>
        <p:nvSpPr>
          <p:cNvPr id="10" name="Rectangle 9">
            <a:extLst>
              <a:ext uri="{FF2B5EF4-FFF2-40B4-BE49-F238E27FC236}">
                <a16:creationId xmlns:a16="http://schemas.microsoft.com/office/drawing/2014/main" id="{32096F98-11FB-4F84-A9DA-E883057EB28A}"/>
              </a:ext>
            </a:extLst>
          </p:cNvPr>
          <p:cNvSpPr/>
          <p:nvPr/>
        </p:nvSpPr>
        <p:spPr>
          <a:xfrm>
            <a:off x="5018295" y="2782093"/>
            <a:ext cx="6527748"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900"/>
              </a:lnSpc>
            </a:pPr>
            <a:r>
              <a:rPr lang="en-US" sz="1600" dirty="0">
                <a:solidFill>
                  <a:schemeClr val="tx1"/>
                </a:solidFill>
              </a:rPr>
              <a:t>You need to send Subscription Mail. Royal Mail defines “publishing” as a publishing mail title or periodical that meets the criteria as detailed in the Subscription Mail terms and conditions. </a:t>
            </a:r>
          </a:p>
        </p:txBody>
      </p:sp>
      <p:sp>
        <p:nvSpPr>
          <p:cNvPr id="11" name="Rectangle 10">
            <a:extLst>
              <a:ext uri="{FF2B5EF4-FFF2-40B4-BE49-F238E27FC236}">
                <a16:creationId xmlns:a16="http://schemas.microsoft.com/office/drawing/2014/main" id="{EADACCD3-11A7-4BFE-9C4E-4607B0DE004B}"/>
              </a:ext>
            </a:extLst>
          </p:cNvPr>
          <p:cNvSpPr/>
          <p:nvPr/>
        </p:nvSpPr>
        <p:spPr>
          <a:xfrm>
            <a:off x="1213094" y="3579295"/>
            <a:ext cx="3805200"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solidFill>
                  <a:schemeClr val="tx1"/>
                </a:solidFill>
              </a:rPr>
              <a:t>Do I need to include all of my publishing titles on the application form?</a:t>
            </a:r>
          </a:p>
        </p:txBody>
      </p:sp>
      <p:sp>
        <p:nvSpPr>
          <p:cNvPr id="12" name="Rectangle 11">
            <a:extLst>
              <a:ext uri="{FF2B5EF4-FFF2-40B4-BE49-F238E27FC236}">
                <a16:creationId xmlns:a16="http://schemas.microsoft.com/office/drawing/2014/main" id="{46930332-51C5-4A92-B5BA-D3E4EF33D77B}"/>
              </a:ext>
            </a:extLst>
          </p:cNvPr>
          <p:cNvSpPr/>
          <p:nvPr/>
        </p:nvSpPr>
        <p:spPr>
          <a:xfrm>
            <a:off x="5018295" y="3579295"/>
            <a:ext cx="6527748"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900"/>
              </a:lnSpc>
            </a:pPr>
            <a:r>
              <a:rPr lang="en-US" sz="1600" dirty="0">
                <a:solidFill>
                  <a:schemeClr val="tx1"/>
                </a:solidFill>
              </a:rPr>
              <a:t>Yes, it is a requirement of the incentive that you declare all of your publishing titles and total publishing volume on your application form</a:t>
            </a:r>
          </a:p>
        </p:txBody>
      </p:sp>
      <p:sp>
        <p:nvSpPr>
          <p:cNvPr id="13" name="Rectangle 12">
            <a:extLst>
              <a:ext uri="{FF2B5EF4-FFF2-40B4-BE49-F238E27FC236}">
                <a16:creationId xmlns:a16="http://schemas.microsoft.com/office/drawing/2014/main" id="{D39F1A4C-57BA-4043-9CA1-32D94A7FE455}"/>
              </a:ext>
            </a:extLst>
          </p:cNvPr>
          <p:cNvSpPr/>
          <p:nvPr/>
        </p:nvSpPr>
        <p:spPr>
          <a:xfrm>
            <a:off x="1213094" y="4376847"/>
            <a:ext cx="3805200" cy="1451614"/>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How will you decide what my target volume amount should be when I apply for the incentive?</a:t>
            </a:r>
          </a:p>
        </p:txBody>
      </p:sp>
      <p:sp>
        <p:nvSpPr>
          <p:cNvPr id="14" name="Rectangle 13">
            <a:extLst>
              <a:ext uri="{FF2B5EF4-FFF2-40B4-BE49-F238E27FC236}">
                <a16:creationId xmlns:a16="http://schemas.microsoft.com/office/drawing/2014/main" id="{1DBE3ED3-AAE0-4D15-A8F9-BD6074CBF47B}"/>
              </a:ext>
            </a:extLst>
          </p:cNvPr>
          <p:cNvSpPr/>
          <p:nvPr/>
        </p:nvSpPr>
        <p:spPr>
          <a:xfrm>
            <a:off x="5018295" y="4376847"/>
            <a:ext cx="6527748" cy="1451614"/>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900"/>
              </a:lnSpc>
            </a:pPr>
            <a:r>
              <a:rPr lang="en-US" sz="1600" dirty="0">
                <a:solidFill>
                  <a:schemeClr val="tx1"/>
                </a:solidFill>
              </a:rPr>
              <a:t>We will use the information you provide in the application to establish your target volume. We will validate this volume using both Royal Mail billing and supply chain data and audited external data sources such as ABC reports. The Matched Volume Target will be set against all publishing titles and you will earn a credit against the volume sent using Magazine Subscription. </a:t>
            </a:r>
          </a:p>
        </p:txBody>
      </p:sp>
      <p:grpSp>
        <p:nvGrpSpPr>
          <p:cNvPr id="21" name="Help" descr="{&quot;Key&quot;:&quot;POWER_USER_SHAPE_ICON&quot;,&quot;Value&quot;:&quot;POWER_USER_SHAPE_ICON_STYLE_1&quot;}">
            <a:extLst>
              <a:ext uri="{FF2B5EF4-FFF2-40B4-BE49-F238E27FC236}">
                <a16:creationId xmlns:a16="http://schemas.microsoft.com/office/drawing/2014/main" id="{F2A54B81-E98E-4AEA-96F7-4775BB5FDC17}"/>
              </a:ext>
            </a:extLst>
          </p:cNvPr>
          <p:cNvGrpSpPr>
            <a:grpSpLocks noChangeAspect="1"/>
          </p:cNvGrpSpPr>
          <p:nvPr>
            <p:custDataLst>
              <p:tags r:id="rId1"/>
            </p:custDataLst>
          </p:nvPr>
        </p:nvGrpSpPr>
        <p:grpSpPr bwMode="auto">
          <a:xfrm>
            <a:off x="562196" y="2123061"/>
            <a:ext cx="541434" cy="542925"/>
            <a:chOff x="44" y="44"/>
            <a:chExt cx="363" cy="364"/>
          </a:xfrm>
          <a:solidFill>
            <a:schemeClr val="tx2"/>
          </a:solidFill>
        </p:grpSpPr>
        <p:sp>
          <p:nvSpPr>
            <p:cNvPr id="22" name="Help">
              <a:extLst>
                <a:ext uri="{FF2B5EF4-FFF2-40B4-BE49-F238E27FC236}">
                  <a16:creationId xmlns:a16="http://schemas.microsoft.com/office/drawing/2014/main" id="{1ECE1F5E-A06A-4176-84EE-4554C0AF12BA}"/>
                </a:ext>
              </a:extLst>
            </p:cNvPr>
            <p:cNvSpPr>
              <a:spLocks noChangeArrowheads="1"/>
            </p:cNvSpPr>
            <p:nvPr>
              <p:custDataLst>
                <p:tags r:id="rId14"/>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Help">
              <a:extLst>
                <a:ext uri="{FF2B5EF4-FFF2-40B4-BE49-F238E27FC236}">
                  <a16:creationId xmlns:a16="http://schemas.microsoft.com/office/drawing/2014/main" id="{C2FE2E69-E1CF-4E59-A1C3-90AF3CEF11F7}"/>
                </a:ext>
              </a:extLst>
            </p:cNvPr>
            <p:cNvSpPr>
              <a:spLocks noEditPoints="1"/>
            </p:cNvSpPr>
            <p:nvPr>
              <p:custDataLst>
                <p:tags r:id="rId15"/>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Help">
              <a:extLst>
                <a:ext uri="{FF2B5EF4-FFF2-40B4-BE49-F238E27FC236}">
                  <a16:creationId xmlns:a16="http://schemas.microsoft.com/office/drawing/2014/main" id="{645477EF-37A1-4270-A1EB-E46E5686778D}"/>
                </a:ext>
              </a:extLst>
            </p:cNvPr>
            <p:cNvSpPr>
              <a:spLocks/>
            </p:cNvSpPr>
            <p:nvPr>
              <p:custDataLst>
                <p:tags r:id="rId16"/>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5" name="Help" descr="{&quot;Key&quot;:&quot;POWER_USER_SHAPE_ICON&quot;,&quot;Value&quot;:&quot;POWER_USER_SHAPE_ICON_STYLE_1&quot;}">
            <a:extLst>
              <a:ext uri="{FF2B5EF4-FFF2-40B4-BE49-F238E27FC236}">
                <a16:creationId xmlns:a16="http://schemas.microsoft.com/office/drawing/2014/main" id="{1B3939D0-7F7E-4A7C-B118-045A6BB389D4}"/>
              </a:ext>
            </a:extLst>
          </p:cNvPr>
          <p:cNvGrpSpPr>
            <a:grpSpLocks noChangeAspect="1"/>
          </p:cNvGrpSpPr>
          <p:nvPr>
            <p:custDataLst>
              <p:tags r:id="rId2"/>
            </p:custDataLst>
          </p:nvPr>
        </p:nvGrpSpPr>
        <p:grpSpPr bwMode="auto">
          <a:xfrm>
            <a:off x="562196" y="2937612"/>
            <a:ext cx="541434" cy="542925"/>
            <a:chOff x="44" y="44"/>
            <a:chExt cx="363" cy="364"/>
          </a:xfrm>
          <a:solidFill>
            <a:schemeClr val="accent1"/>
          </a:solidFill>
        </p:grpSpPr>
        <p:sp>
          <p:nvSpPr>
            <p:cNvPr id="26" name="Help">
              <a:extLst>
                <a:ext uri="{FF2B5EF4-FFF2-40B4-BE49-F238E27FC236}">
                  <a16:creationId xmlns:a16="http://schemas.microsoft.com/office/drawing/2014/main" id="{D1E57D8F-D754-4D4F-972D-DFD5A174F642}"/>
                </a:ext>
              </a:extLst>
            </p:cNvPr>
            <p:cNvSpPr>
              <a:spLocks noChangeArrowheads="1"/>
            </p:cNvSpPr>
            <p:nvPr>
              <p:custDataLst>
                <p:tags r:id="rId11"/>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Help">
              <a:extLst>
                <a:ext uri="{FF2B5EF4-FFF2-40B4-BE49-F238E27FC236}">
                  <a16:creationId xmlns:a16="http://schemas.microsoft.com/office/drawing/2014/main" id="{0D34C15E-65CE-4895-8223-6C69F2BC7CE8}"/>
                </a:ext>
              </a:extLst>
            </p:cNvPr>
            <p:cNvSpPr>
              <a:spLocks noEditPoints="1"/>
            </p:cNvSpPr>
            <p:nvPr>
              <p:custDataLst>
                <p:tags r:id="rId12"/>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Help">
              <a:extLst>
                <a:ext uri="{FF2B5EF4-FFF2-40B4-BE49-F238E27FC236}">
                  <a16:creationId xmlns:a16="http://schemas.microsoft.com/office/drawing/2014/main" id="{D390CFD1-6772-4637-82C0-2BFEDFED0C71}"/>
                </a:ext>
              </a:extLst>
            </p:cNvPr>
            <p:cNvSpPr>
              <a:spLocks/>
            </p:cNvSpPr>
            <p:nvPr>
              <p:custDataLst>
                <p:tags r:id="rId13"/>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9" name="Help" descr="{&quot;Key&quot;:&quot;POWER_USER_SHAPE_ICON&quot;,&quot;Value&quot;:&quot;POWER_USER_SHAPE_ICON_STYLE_1&quot;}">
            <a:extLst>
              <a:ext uri="{FF2B5EF4-FFF2-40B4-BE49-F238E27FC236}">
                <a16:creationId xmlns:a16="http://schemas.microsoft.com/office/drawing/2014/main" id="{C93E4069-5F18-4149-9332-341655320B5D}"/>
              </a:ext>
            </a:extLst>
          </p:cNvPr>
          <p:cNvGrpSpPr>
            <a:grpSpLocks noChangeAspect="1"/>
          </p:cNvGrpSpPr>
          <p:nvPr>
            <p:custDataLst>
              <p:tags r:id="rId3"/>
            </p:custDataLst>
          </p:nvPr>
        </p:nvGrpSpPr>
        <p:grpSpPr bwMode="auto">
          <a:xfrm>
            <a:off x="562196" y="3720631"/>
            <a:ext cx="541434" cy="542925"/>
            <a:chOff x="44" y="44"/>
            <a:chExt cx="363" cy="364"/>
          </a:xfrm>
          <a:solidFill>
            <a:schemeClr val="accent2"/>
          </a:solidFill>
        </p:grpSpPr>
        <p:sp>
          <p:nvSpPr>
            <p:cNvPr id="30" name="Help">
              <a:extLst>
                <a:ext uri="{FF2B5EF4-FFF2-40B4-BE49-F238E27FC236}">
                  <a16:creationId xmlns:a16="http://schemas.microsoft.com/office/drawing/2014/main" id="{A04560A9-10CA-415C-B69A-BB6E63B0FD19}"/>
                </a:ext>
              </a:extLst>
            </p:cNvPr>
            <p:cNvSpPr>
              <a:spLocks noChangeArrowheads="1"/>
            </p:cNvSpPr>
            <p:nvPr>
              <p:custDataLst>
                <p:tags r:id="rId8"/>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Help">
              <a:extLst>
                <a:ext uri="{FF2B5EF4-FFF2-40B4-BE49-F238E27FC236}">
                  <a16:creationId xmlns:a16="http://schemas.microsoft.com/office/drawing/2014/main" id="{D572A56E-6A85-4522-9854-5D0DAAC2D19D}"/>
                </a:ext>
              </a:extLst>
            </p:cNvPr>
            <p:cNvSpPr>
              <a:spLocks noEditPoints="1"/>
            </p:cNvSpPr>
            <p:nvPr>
              <p:custDataLst>
                <p:tags r:id="rId9"/>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Help">
              <a:extLst>
                <a:ext uri="{FF2B5EF4-FFF2-40B4-BE49-F238E27FC236}">
                  <a16:creationId xmlns:a16="http://schemas.microsoft.com/office/drawing/2014/main" id="{A7ECD700-47F7-4DD1-928B-95449B41C43A}"/>
                </a:ext>
              </a:extLst>
            </p:cNvPr>
            <p:cNvSpPr>
              <a:spLocks/>
            </p:cNvSpPr>
            <p:nvPr>
              <p:custDataLst>
                <p:tags r:id="rId10"/>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3" name="Help" descr="{&quot;Key&quot;:&quot;POWER_USER_SHAPE_ICON&quot;,&quot;Value&quot;:&quot;POWER_USER_SHAPE_ICON_STYLE_1&quot;}">
            <a:extLst>
              <a:ext uri="{FF2B5EF4-FFF2-40B4-BE49-F238E27FC236}">
                <a16:creationId xmlns:a16="http://schemas.microsoft.com/office/drawing/2014/main" id="{CEB15AD6-1E54-438F-95E9-6519FC8D733C}"/>
              </a:ext>
            </a:extLst>
          </p:cNvPr>
          <p:cNvGrpSpPr>
            <a:grpSpLocks noChangeAspect="1"/>
          </p:cNvGrpSpPr>
          <p:nvPr>
            <p:custDataLst>
              <p:tags r:id="rId4"/>
            </p:custDataLst>
          </p:nvPr>
        </p:nvGrpSpPr>
        <p:grpSpPr bwMode="auto">
          <a:xfrm>
            <a:off x="562196" y="4503651"/>
            <a:ext cx="541434" cy="542925"/>
            <a:chOff x="44" y="44"/>
            <a:chExt cx="363" cy="364"/>
          </a:xfrm>
          <a:solidFill>
            <a:schemeClr val="accent3"/>
          </a:solidFill>
        </p:grpSpPr>
        <p:sp>
          <p:nvSpPr>
            <p:cNvPr id="34" name="Help">
              <a:extLst>
                <a:ext uri="{FF2B5EF4-FFF2-40B4-BE49-F238E27FC236}">
                  <a16:creationId xmlns:a16="http://schemas.microsoft.com/office/drawing/2014/main" id="{7EE75E5C-C249-4F64-9447-BF10A969B879}"/>
                </a:ext>
              </a:extLst>
            </p:cNvPr>
            <p:cNvSpPr>
              <a:spLocks noChangeArrowheads="1"/>
            </p:cNvSpPr>
            <p:nvPr>
              <p:custDataLst>
                <p:tags r:id="rId5"/>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Help">
              <a:extLst>
                <a:ext uri="{FF2B5EF4-FFF2-40B4-BE49-F238E27FC236}">
                  <a16:creationId xmlns:a16="http://schemas.microsoft.com/office/drawing/2014/main" id="{CF295AEC-7E4E-4606-A34F-C376E72B9942}"/>
                </a:ext>
              </a:extLst>
            </p:cNvPr>
            <p:cNvSpPr>
              <a:spLocks noEditPoints="1"/>
            </p:cNvSpPr>
            <p:nvPr>
              <p:custDataLst>
                <p:tags r:id="rId6"/>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Help">
              <a:extLst>
                <a:ext uri="{FF2B5EF4-FFF2-40B4-BE49-F238E27FC236}">
                  <a16:creationId xmlns:a16="http://schemas.microsoft.com/office/drawing/2014/main" id="{57A7AFEC-CDFA-4AB1-9EEE-FF505AA891B1}"/>
                </a:ext>
              </a:extLst>
            </p:cNvPr>
            <p:cNvSpPr>
              <a:spLocks/>
            </p:cNvSpPr>
            <p:nvPr>
              <p:custDataLst>
                <p:tags r:id="rId7"/>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ADAA59DA-C79B-485A-B7CE-9653A81EBC1B}"/>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5145717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star*brain*brainiac*genius *common ground*people*faces"/>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paper_POWER_USER_SEPARATOR_ICONS_aircraft_POWER_USER_SEPARATOR_ICONS_airplane_POWER_USER_SEPARATOR_ICONS_play_POWER_USER_SEPARATOR_ICONS_send_POWER_USER_SEPARATOR_ICONS_email_POWER_USER_SEPARATOR_ICONS_message"/>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heme/theme1.xml><?xml version="1.0" encoding="utf-8"?>
<a:theme xmlns:a="http://schemas.openxmlformats.org/drawingml/2006/main" name="Office Theme">
  <a:themeElements>
    <a:clrScheme name="Marketreach Colours">
      <a:dk1>
        <a:srgbClr val="000000"/>
      </a:dk1>
      <a:lt1>
        <a:srgbClr val="FFFFFF"/>
      </a:lt1>
      <a:dk2>
        <a:srgbClr val="666666"/>
      </a:dk2>
      <a:lt2>
        <a:srgbClr val="FFFFFF"/>
      </a:lt2>
      <a:accent1>
        <a:srgbClr val="E32019"/>
      </a:accent1>
      <a:accent2>
        <a:srgbClr val="E94D47"/>
      </a:accent2>
      <a:accent3>
        <a:srgbClr val="EE7975"/>
      </a:accent3>
      <a:accent4>
        <a:srgbClr val="F3A6A3"/>
      </a:accent4>
      <a:accent5>
        <a:srgbClr val="F9D3D1"/>
      </a:accent5>
      <a:accent6>
        <a:srgbClr val="000000"/>
      </a:accent6>
      <a:hlink>
        <a:srgbClr val="E32019"/>
      </a:hlink>
      <a:folHlink>
        <a:srgbClr val="E94D47"/>
      </a:folHlink>
    </a:clrScheme>
    <a:fontScheme name="Marketreach fonts">
      <a:majorFont>
        <a:latin typeface="Century Gothic"/>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D71CF4A4FD234468DD412F3CF334B34" ma:contentTypeVersion="5" ma:contentTypeDescription="Create a new document." ma:contentTypeScope="" ma:versionID="7c5298e035e3abb700d4d2719f1bcc92">
  <xsd:schema xmlns:xsd="http://www.w3.org/2001/XMLSchema" xmlns:xs="http://www.w3.org/2001/XMLSchema" xmlns:p="http://schemas.microsoft.com/office/2006/metadata/properties" xmlns:ns2="4be9f171-eef0-4f28-8842-fd062038bb63" targetNamespace="http://schemas.microsoft.com/office/2006/metadata/properties" ma:root="true" ma:fieldsID="7c48febbddd040c151bb22673fcc65ec" ns2:_="">
    <xsd:import namespace="4be9f171-eef0-4f28-8842-fd062038bb6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e9f171-eef0-4f28-8842-fd062038bb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9F9721-E688-41FE-A6C0-BAFCE096F8E7}">
  <ds:schemaRefs>
    <ds:schemaRef ds:uri="http://schemas.microsoft.com/sharepoint/v3/contenttype/forms"/>
  </ds:schemaRefs>
</ds:datastoreItem>
</file>

<file path=customXml/itemProps2.xml><?xml version="1.0" encoding="utf-8"?>
<ds:datastoreItem xmlns:ds="http://schemas.openxmlformats.org/officeDocument/2006/customXml" ds:itemID="{D11A0B5A-0F16-41B3-8A2F-1F42330CA88E}">
  <ds:schemaRefs>
    <ds:schemaRef ds:uri="http://schemas.microsoft.com/office/infopath/2007/PartnerControls"/>
    <ds:schemaRef ds:uri="http://purl.org/dc/terms/"/>
    <ds:schemaRef ds:uri="http://schemas.openxmlformats.org/package/2006/metadata/core-properties"/>
    <ds:schemaRef ds:uri="http://schemas.microsoft.com/office/2006/documentManagement/types"/>
    <ds:schemaRef ds:uri="4be9f171-eef0-4f28-8842-fd062038bb63"/>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E98848BB-50DE-4E57-9CA8-7CC896B952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e9f171-eef0-4f28-8842-fd062038bb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094</Words>
  <Application>Microsoft Office PowerPoint</Application>
  <PresentationFormat>Widescreen</PresentationFormat>
  <Paragraphs>107</Paragraphs>
  <Slides>10</Slides>
  <Notes>2</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0</vt:i4>
      </vt:variant>
    </vt:vector>
  </HeadingPairs>
  <TitlesOfParts>
    <vt:vector size="16" baseType="lpstr">
      <vt:lpstr>Arial</vt:lpstr>
      <vt:lpstr>Calibri</vt:lpstr>
      <vt:lpstr>Century Gothic</vt:lpstr>
      <vt:lpstr>Impact</vt:lpstr>
      <vt:lpstr>Wingdings</vt:lpstr>
      <vt:lpstr>Office Theme</vt:lpstr>
      <vt:lpstr>Publishing mail  Volume commitment</vt:lpstr>
      <vt:lpstr>PUBLISHING mail</vt:lpstr>
      <vt:lpstr>Magazines are alive and well in the uk</vt:lpstr>
      <vt:lpstr>PowerPoint Presentation</vt:lpstr>
      <vt:lpstr>Postage credits 2024</vt:lpstr>
      <vt:lpstr>ENTRY REQUIREMENTS</vt:lpstr>
      <vt:lpstr>What you need to know</vt:lpstr>
      <vt:lpstr>The APPLICATION AND CREDIT process</vt:lpstr>
      <vt:lpstr>FREQUENTLY ASKED 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9</cp:revision>
  <dcterms:created xsi:type="dcterms:W3CDTF">2018-10-03T11:19:32Z</dcterms:created>
  <dcterms:modified xsi:type="dcterms:W3CDTF">2023-12-11T13:30: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71CF4A4FD234468DD412F3CF334B34</vt:lpwstr>
  </property>
  <property fmtid="{D5CDD505-2E9C-101B-9397-08002B2CF9AE}" pid="3" name="MSIP_Label_980f36f3-41a5-4f45-a6a2-e224f336accd_Enabled">
    <vt:lpwstr>true</vt:lpwstr>
  </property>
  <property fmtid="{D5CDD505-2E9C-101B-9397-08002B2CF9AE}" pid="4" name="MSIP_Label_980f36f3-41a5-4f45-a6a2-e224f336accd_SetDate">
    <vt:lpwstr>2023-12-11T13:30:15Z</vt:lpwstr>
  </property>
  <property fmtid="{D5CDD505-2E9C-101B-9397-08002B2CF9AE}" pid="5" name="MSIP_Label_980f36f3-41a5-4f45-a6a2-e224f336accd_Method">
    <vt:lpwstr>Standard</vt:lpwstr>
  </property>
  <property fmtid="{D5CDD505-2E9C-101B-9397-08002B2CF9AE}" pid="6" name="MSIP_Label_980f36f3-41a5-4f45-a6a2-e224f336accd_Name">
    <vt:lpwstr>980f36f3-41a5-4f45-a6a2-e224f336accd</vt:lpwstr>
  </property>
  <property fmtid="{D5CDD505-2E9C-101B-9397-08002B2CF9AE}" pid="7" name="MSIP_Label_980f36f3-41a5-4f45-a6a2-e224f336accd_SiteId">
    <vt:lpwstr>7a082108-90dd-41ac-be41-9b8feabee2da</vt:lpwstr>
  </property>
  <property fmtid="{D5CDD505-2E9C-101B-9397-08002B2CF9AE}" pid="8" name="MSIP_Label_980f36f3-41a5-4f45-a6a2-e224f336accd_ActionId">
    <vt:lpwstr/>
  </property>
  <property fmtid="{D5CDD505-2E9C-101B-9397-08002B2CF9AE}" pid="9" name="MSIP_Label_980f36f3-41a5-4f45-a6a2-e224f336accd_ContentBits">
    <vt:lpwstr>2</vt:lpwstr>
  </property>
</Properties>
</file>